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147137534"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78" d="100"/>
          <a:sy n="78" d="100"/>
        </p:scale>
        <p:origin x="878"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9B7DEC-32D8-41B6-AD76-17C8157CF684}" type="datetimeFigureOut">
              <a:rPr lang="en-US" smtClean="0"/>
              <a:t>4/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BC1A63-D7F5-4B24-B2BD-D954BD9CEFE9}" type="slidenum">
              <a:rPr lang="en-US" smtClean="0"/>
              <a:t>‹#›</a:t>
            </a:fld>
            <a:endParaRPr lang="en-US"/>
          </a:p>
        </p:txBody>
      </p:sp>
    </p:spTree>
    <p:extLst>
      <p:ext uri="{BB962C8B-B14F-4D97-AF65-F5344CB8AC3E}">
        <p14:creationId xmlns:p14="http://schemas.microsoft.com/office/powerpoint/2010/main" val="36784419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114338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C380534-757B-4276-B12D-8EC60A992AEC}"/>
              </a:ext>
            </a:extLst>
          </p:cNvPr>
          <p:cNvSpPr>
            <a:spLocks noGrp="1"/>
          </p:cNvSpPr>
          <p:nvPr>
            <p:ph type="title"/>
          </p:nvPr>
        </p:nvSpPr>
        <p:spPr>
          <a:xfrm>
            <a:off x="250528" y="525516"/>
            <a:ext cx="10972801" cy="883673"/>
          </a:xfrm>
        </p:spPr>
        <p:txBody>
          <a:bodyPr anchor="b"/>
          <a:lstStyle>
            <a:lvl1pPr>
              <a:defRPr sz="3200">
                <a:solidFill>
                  <a:schemeClr val="bg1"/>
                </a:solidFill>
              </a:defRPr>
            </a:lvl1pPr>
          </a:lstStyle>
          <a:p>
            <a:r>
              <a:rPr lang="en-US"/>
              <a:t>Click to edit Master title style</a:t>
            </a:r>
          </a:p>
        </p:txBody>
      </p:sp>
      <p:cxnSp>
        <p:nvCxnSpPr>
          <p:cNvPr id="6" name="Straight Connector 5">
            <a:extLst>
              <a:ext uri="{FF2B5EF4-FFF2-40B4-BE49-F238E27FC236}">
                <a16:creationId xmlns:a16="http://schemas.microsoft.com/office/drawing/2014/main" id="{CE210475-51DC-447F-93A3-2E014566EBB6}"/>
              </a:ext>
              <a:ext uri="{C183D7F6-B498-43B3-948B-1728B52AA6E4}">
                <adec:decorative xmlns:adec="http://schemas.microsoft.com/office/drawing/2017/decorative" val="1"/>
              </a:ext>
            </a:extLst>
          </p:cNvPr>
          <p:cNvCxnSpPr/>
          <p:nvPr userDrawn="1"/>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7" name="TextBox 6"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a:extLst>
              <a:ext uri="{FF2B5EF4-FFF2-40B4-BE49-F238E27FC236}">
                <a16:creationId xmlns:a16="http://schemas.microsoft.com/office/drawing/2014/main" id="{8B918FF2-B536-45FB-B3CA-5951580E7944}"/>
              </a:ext>
            </a:extLst>
          </p:cNvPr>
          <p:cNvSpPr txBox="1"/>
          <p:nvPr userDrawn="1"/>
        </p:nvSpPr>
        <p:spPr>
          <a:xfrm>
            <a:off x="0" y="6395103"/>
            <a:ext cx="11099549"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2">
                  <a:extLst>
                    <a:ext uri="{A12FA001-AC4F-418D-AE19-62706E023703}">
                      <ahyp:hlinkClr xmlns:ahyp="http://schemas.microsoft.com/office/drawing/2018/hyperlinkcolor" val="tx"/>
                    </a:ext>
                  </a:extLst>
                </a:hlinkClick>
              </a:rPr>
              <a:t>Intel Statement on Product Usage: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8" name="Rectangle 7">
            <a:extLst>
              <a:ext uri="{FF2B5EF4-FFF2-40B4-BE49-F238E27FC236}">
                <a16:creationId xmlns:a16="http://schemas.microsoft.com/office/drawing/2014/main" id="{00D697C6-A77D-43F1-A76B-382E1AB87F63}"/>
              </a:ext>
            </a:extLst>
          </p:cNvPr>
          <p:cNvSpPr/>
          <p:nvPr userDrawn="1"/>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bg2"/>
              </a:solidFill>
              <a:effectLst/>
              <a:uFillTx/>
              <a:latin typeface="IntelOne Text" panose="020B0503020203020204" pitchFamily="34" charset="0"/>
              <a:ea typeface="Helvetica Neue Medium"/>
              <a:cs typeface="Helvetica Neue Medium"/>
              <a:sym typeface="Helvetica Neue Medium"/>
            </a:endParaRPr>
          </a:p>
        </p:txBody>
      </p:sp>
    </p:spTree>
    <p:extLst>
      <p:ext uri="{BB962C8B-B14F-4D97-AF65-F5344CB8AC3E}">
        <p14:creationId xmlns:p14="http://schemas.microsoft.com/office/powerpoint/2010/main" val="18927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C380534-757B-4276-B12D-8EC60A992AEC}"/>
              </a:ext>
            </a:extLst>
          </p:cNvPr>
          <p:cNvSpPr>
            <a:spLocks noGrp="1"/>
          </p:cNvSpPr>
          <p:nvPr>
            <p:ph type="title"/>
          </p:nvPr>
        </p:nvSpPr>
        <p:spPr>
          <a:xfrm>
            <a:off x="250528" y="525516"/>
            <a:ext cx="10972801" cy="883673"/>
          </a:xfrm>
        </p:spPr>
        <p:txBody>
          <a:bodyPr anchor="b"/>
          <a:lstStyle>
            <a:lvl1pPr>
              <a:defRPr sz="3200">
                <a:solidFill>
                  <a:schemeClr val="bg1"/>
                </a:solidFill>
              </a:defRPr>
            </a:lvl1pPr>
          </a:lstStyle>
          <a:p>
            <a:r>
              <a:rPr lang="en-US"/>
              <a:t>Click to edit Master title style</a:t>
            </a:r>
          </a:p>
        </p:txBody>
      </p:sp>
      <p:cxnSp>
        <p:nvCxnSpPr>
          <p:cNvPr id="6" name="Straight Connector 5">
            <a:extLst>
              <a:ext uri="{FF2B5EF4-FFF2-40B4-BE49-F238E27FC236}">
                <a16:creationId xmlns:a16="http://schemas.microsoft.com/office/drawing/2014/main" id="{CE210475-51DC-447F-93A3-2E014566EBB6}"/>
              </a:ext>
              <a:ext uri="{C183D7F6-B498-43B3-948B-1728B52AA6E4}">
                <adec:decorative xmlns:adec="http://schemas.microsoft.com/office/drawing/2017/decorative" val="1"/>
              </a:ext>
            </a:extLst>
          </p:cNvPr>
          <p:cNvCxnSpPr/>
          <p:nvPr userDrawn="1"/>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7" name="TextBox 6"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a:extLst>
              <a:ext uri="{FF2B5EF4-FFF2-40B4-BE49-F238E27FC236}">
                <a16:creationId xmlns:a16="http://schemas.microsoft.com/office/drawing/2014/main" id="{8B918FF2-B536-45FB-B3CA-5951580E7944}"/>
              </a:ext>
            </a:extLst>
          </p:cNvPr>
          <p:cNvSpPr txBox="1"/>
          <p:nvPr userDrawn="1"/>
        </p:nvSpPr>
        <p:spPr>
          <a:xfrm>
            <a:off x="0" y="6395103"/>
            <a:ext cx="11099549"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2">
                  <a:extLst>
                    <a:ext uri="{A12FA001-AC4F-418D-AE19-62706E023703}">
                      <ahyp:hlinkClr xmlns:ahyp="http://schemas.microsoft.com/office/drawing/2018/hyperlinkcolor" val="tx"/>
                    </a:ext>
                  </a:extLst>
                </a:hlinkClick>
              </a:rPr>
              <a:t>Intel Statement on Product Usage: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8" name="Rectangle 7">
            <a:extLst>
              <a:ext uri="{FF2B5EF4-FFF2-40B4-BE49-F238E27FC236}">
                <a16:creationId xmlns:a16="http://schemas.microsoft.com/office/drawing/2014/main" id="{00D697C6-A77D-43F1-A76B-382E1AB87F63}"/>
              </a:ext>
            </a:extLst>
          </p:cNvPr>
          <p:cNvSpPr/>
          <p:nvPr userDrawn="1"/>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bg2"/>
              </a:solidFill>
              <a:effectLst/>
              <a:uFillTx/>
              <a:latin typeface="IntelOne Text" panose="020B0503020203020204" pitchFamily="34" charset="0"/>
              <a:ea typeface="Helvetica Neue Medium"/>
              <a:cs typeface="Helvetica Neue Medium"/>
              <a:sym typeface="Helvetica Neue Medium"/>
            </a:endParaRPr>
          </a:p>
        </p:txBody>
      </p:sp>
    </p:spTree>
    <p:extLst>
      <p:ext uri="{BB962C8B-B14F-4D97-AF65-F5344CB8AC3E}">
        <p14:creationId xmlns:p14="http://schemas.microsoft.com/office/powerpoint/2010/main" val="124683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E8FAEE2-3BFE-42F0-A83C-18AD4A768FF0}"/>
              </a:ext>
              <a:ext uri="{C183D7F6-B498-43B3-948B-1728B52AA6E4}">
                <adec:decorative xmlns:adec="http://schemas.microsoft.com/office/drawing/2017/decorative" val="1"/>
              </a:ext>
            </a:extLst>
          </p:cNvPr>
          <p:cNvCxnSpPr/>
          <p:nvPr userDrawn="1"/>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4" name="TextBox 3"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a:extLst>
              <a:ext uri="{FF2B5EF4-FFF2-40B4-BE49-F238E27FC236}">
                <a16:creationId xmlns:a16="http://schemas.microsoft.com/office/drawing/2014/main" id="{17198EC9-2853-44FC-9A3B-9B2B2A98D72D}"/>
              </a:ext>
            </a:extLst>
          </p:cNvPr>
          <p:cNvSpPr txBox="1"/>
          <p:nvPr userDrawn="1"/>
        </p:nvSpPr>
        <p:spPr>
          <a:xfrm>
            <a:off x="0" y="6395103"/>
            <a:ext cx="11099549" cy="4770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2">
                  <a:extLst>
                    <a:ext uri="{A12FA001-AC4F-418D-AE19-62706E023703}">
                      <ahyp:hlinkClr xmlns:ahyp="http://schemas.microsoft.com/office/drawing/2018/hyperlinkcolor" val="tx"/>
                    </a:ext>
                  </a:extLst>
                </a:hlinkClick>
              </a:rPr>
              <a:t>Intel Statement on Product Usage: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5" name="Rectangle 4">
            <a:extLst>
              <a:ext uri="{FF2B5EF4-FFF2-40B4-BE49-F238E27FC236}">
                <a16:creationId xmlns:a16="http://schemas.microsoft.com/office/drawing/2014/main" id="{EBB4AA44-07BC-40CA-B87C-EDC803B55E5C}"/>
              </a:ext>
            </a:extLst>
          </p:cNvPr>
          <p:cNvSpPr/>
          <p:nvPr userDrawn="1"/>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spTree>
    <p:extLst>
      <p:ext uri="{BB962C8B-B14F-4D97-AF65-F5344CB8AC3E}">
        <p14:creationId xmlns:p14="http://schemas.microsoft.com/office/powerpoint/2010/main" val="90645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F27ABEE-91E1-420E-AD52-066ECB7CBDFC}"/>
              </a:ext>
            </a:extLst>
          </p:cNvPr>
          <p:cNvSpPr/>
          <p:nvPr userDrawn="1"/>
        </p:nvSpPr>
        <p:spPr>
          <a:xfrm rot="5400000">
            <a:off x="8758537" y="2978453"/>
            <a:ext cx="6407450" cy="450549"/>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 name="Body Level One…"/>
          <p:cNvSpPr txBox="1">
            <a:spLocks noGrp="1"/>
          </p:cNvSpPr>
          <p:nvPr>
            <p:ph type="body" idx="1"/>
          </p:nvPr>
        </p:nvSpPr>
        <p:spPr>
          <a:xfrm>
            <a:off x="592915" y="1524000"/>
            <a:ext cx="10972801" cy="47244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rPr lang="en-US"/>
              <a:t>Body copy Intel One text 28 point</a:t>
            </a:r>
          </a:p>
          <a:p>
            <a:pPr lvl="1"/>
            <a:r>
              <a:rPr lang="en-US"/>
              <a:t>Sub Bullet one 24 point</a:t>
            </a:r>
          </a:p>
          <a:p>
            <a:pPr lvl="2"/>
            <a:r>
              <a:rPr lang="en-US"/>
              <a:t>Sub Bullet two 20 point</a:t>
            </a:r>
          </a:p>
          <a:p>
            <a:pPr lvl="3"/>
            <a:r>
              <a:rPr lang="en-US"/>
              <a:t>Sub Bullet three 18 point</a:t>
            </a:r>
          </a:p>
          <a:p>
            <a:pPr lvl="4"/>
            <a:r>
              <a:rPr lang="en-US"/>
              <a:t>Sub Bullet four 16 point</a:t>
            </a:r>
            <a:br>
              <a:rPr lang="en-US"/>
            </a:br>
            <a:endParaRPr lang="en-US"/>
          </a:p>
          <a:p>
            <a:pPr lvl="2"/>
            <a:endParaRPr/>
          </a:p>
        </p:txBody>
      </p:sp>
      <p:sp>
        <p:nvSpPr>
          <p:cNvPr id="4" name="Title Text"/>
          <p:cNvSpPr txBox="1">
            <a:spLocks noGrp="1"/>
          </p:cNvSpPr>
          <p:nvPr>
            <p:ph type="title"/>
          </p:nvPr>
        </p:nvSpPr>
        <p:spPr>
          <a:xfrm>
            <a:off x="592916" y="571500"/>
            <a:ext cx="10972801" cy="8836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p>
            <a:r>
              <a:rPr lang="en-US"/>
              <a:t>40pt Intel One Display Light Text Goes Here</a:t>
            </a:r>
            <a:endParaRPr/>
          </a:p>
        </p:txBody>
      </p:sp>
      <p:pic>
        <p:nvPicPr>
          <p:cNvPr id="6" name="Graphic 5">
            <a:extLst>
              <a:ext uri="{FF2B5EF4-FFF2-40B4-BE49-F238E27FC236}">
                <a16:creationId xmlns:a16="http://schemas.microsoft.com/office/drawing/2014/main" id="{DCACDBB0-BD96-446C-8F63-C56E4AA10FBD}"/>
              </a:ext>
            </a:extLst>
          </p:cNvPr>
          <p:cNvPicPr>
            <a:picLocks noChangeAspect="1"/>
          </p:cNvPicPr>
          <p:nvPr userDrawn="1"/>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37466" y="6554735"/>
            <a:ext cx="476084" cy="177524"/>
          </a:xfrm>
          <a:prstGeom prst="rect">
            <a:avLst/>
          </a:prstGeom>
        </p:spPr>
      </p:pic>
      <p:sp>
        <p:nvSpPr>
          <p:cNvPr id="9" name="TextBox 8">
            <a:extLst>
              <a:ext uri="{FF2B5EF4-FFF2-40B4-BE49-F238E27FC236}">
                <a16:creationId xmlns:a16="http://schemas.microsoft.com/office/drawing/2014/main" id="{51520E06-BF98-49FF-91DB-15EBE855DD9E}"/>
              </a:ext>
            </a:extLst>
          </p:cNvPr>
          <p:cNvSpPr txBox="1"/>
          <p:nvPr userDrawn="1"/>
        </p:nvSpPr>
        <p:spPr>
          <a:xfrm>
            <a:off x="11907029" y="6579173"/>
            <a:ext cx="131446"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800" b="0" i="0" u="none" strike="noStrike" cap="none" spc="0" normalizeH="0" baseline="0" smtClean="0">
                <a:ln>
                  <a:noFill/>
                </a:ln>
                <a:solidFill>
                  <a:schemeClr val="bg2"/>
                </a:solidFill>
                <a:effectLst/>
                <a:uFillTx/>
                <a:latin typeface="IntelOne Text" panose="020B0503020203020204" pitchFamily="34" charset="0"/>
                <a:ea typeface="+mn-ea"/>
                <a:cs typeface="+mn-cs"/>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900" b="0" i="0" u="none" strike="noStrike" cap="none" spc="0" normalizeH="0" baseline="0">
              <a:ln>
                <a:noFill/>
              </a:ln>
              <a:solidFill>
                <a:schemeClr val="bg2"/>
              </a:solidFill>
              <a:effectLst/>
              <a:uFillTx/>
              <a:latin typeface="IntelOne Text" panose="020B0503020203020204" pitchFamily="34" charset="0"/>
              <a:ea typeface="+mn-ea"/>
              <a:cs typeface="+mn-cs"/>
              <a:sym typeface="Helvetica Neue"/>
            </a:endParaRPr>
          </a:p>
        </p:txBody>
      </p:sp>
    </p:spTree>
    <p:extLst>
      <p:ext uri="{BB962C8B-B14F-4D97-AF65-F5344CB8AC3E}">
        <p14:creationId xmlns:p14="http://schemas.microsoft.com/office/powerpoint/2010/main" val="12818308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marL="0" marR="0" indent="0" algn="l" defTabSz="609600" latinLnBrk="0">
        <a:lnSpc>
          <a:spcPct val="90000"/>
        </a:lnSpc>
        <a:spcBef>
          <a:spcPts val="0"/>
        </a:spcBef>
        <a:spcAft>
          <a:spcPts val="0"/>
        </a:spcAft>
        <a:buClrTx/>
        <a:buSzTx/>
        <a:buFontTx/>
        <a:buNone/>
        <a:tabLst/>
        <a:defRPr sz="4000" b="0" i="0" u="none" strike="noStrike" cap="none" spc="0" baseline="0">
          <a:solidFill>
            <a:schemeClr val="bg2"/>
          </a:solidFill>
          <a:uFillTx/>
          <a:latin typeface="IntelOne Display Light" panose="020B0403020203020204" pitchFamily="34" charset="0"/>
          <a:ea typeface="IntelOne Display Light" panose="020B0403020203020204" pitchFamily="34" charset="0"/>
          <a:cs typeface="IntelOne Display Light" panose="020B0403020203020204" pitchFamily="34" charset="0"/>
          <a:sym typeface="Helvetica"/>
        </a:defRPr>
      </a:lvl1pPr>
      <a:lvl2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2pPr>
      <a:lvl3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3pPr>
      <a:lvl4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4pPr>
      <a:lvl5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5pPr>
      <a:lvl6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6pPr>
      <a:lvl7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7pPr>
      <a:lvl8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8pPr>
      <a:lvl9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9pPr>
    </p:titleStyle>
    <p:bodyStyle>
      <a:lvl1pPr marL="228600" marR="0" indent="-228600" algn="l" defTabSz="609600" latinLnBrk="0">
        <a:lnSpc>
          <a:spcPct val="100000"/>
        </a:lnSpc>
        <a:spcBef>
          <a:spcPts val="1200"/>
        </a:spcBef>
        <a:spcAft>
          <a:spcPts val="0"/>
        </a:spcAft>
        <a:buClrTx/>
        <a:buSzTx/>
        <a:buFont typeface="Wingdings" pitchFamily="2" charset="2"/>
        <a:buChar char="§"/>
        <a:tabLst/>
        <a:defRPr sz="2800" b="0" i="0" u="none" strike="noStrike" cap="none" spc="0" baseline="0">
          <a:solidFill>
            <a:schemeClr val="bg2"/>
          </a:solidFill>
          <a:uFillTx/>
          <a:latin typeface="IntelOne Text" panose="020B0503020203020204" pitchFamily="34" charset="0"/>
          <a:ea typeface="IntelOne Display Light" panose="020B0403020203020204" pitchFamily="34" charset="0"/>
          <a:cs typeface="IntelOne Display Light" panose="020B0403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One Text" panose="020B0503020203020204" pitchFamily="34" charset="0"/>
          <a:ea typeface="IntelOne Display Light" panose="020B0403020203020204" pitchFamily="34" charset="0"/>
          <a:cs typeface="IntelOne Display Light" panose="020B0403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One Text" panose="020B0503020203020204" pitchFamily="34" charset="0"/>
          <a:ea typeface="IntelOne Display Light" panose="020B0403020203020204" pitchFamily="34" charset="0"/>
          <a:cs typeface="IntelOne Display Light" panose="020B0403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One Text" panose="020B0503020203020204" pitchFamily="34" charset="0"/>
          <a:ea typeface="IntelOne Display Light" panose="020B0403020203020204" pitchFamily="34" charset="0"/>
          <a:cs typeface="IntelOne Display Light" panose="020B0403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One Text" panose="020B0503020203020204" pitchFamily="34" charset="0"/>
          <a:ea typeface="IntelOne Display Light" panose="020B0403020203020204" pitchFamily="34" charset="0"/>
          <a:cs typeface="IntelOne Display Light" panose="020B0403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p:bodyStyle>
    <p:otherStyle>
      <a:lvl1pPr marL="0" marR="0" indent="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1pPr>
      <a:lvl2pPr marL="0" marR="0" indent="2286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2pPr>
      <a:lvl3pPr marL="0" marR="0" indent="4572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3pPr>
      <a:lvl4pPr marL="0" marR="0" indent="6858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4pPr>
      <a:lvl5pPr marL="0" marR="0" indent="9144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5pPr>
      <a:lvl6pPr marL="0" marR="0" indent="11430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6pPr>
      <a:lvl7pPr marL="0" marR="0" indent="13716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7pPr>
      <a:lvl8pPr marL="0" marR="0" indent="16002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8pPr>
      <a:lvl9pPr marL="0" marR="0" indent="18288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9pPr>
    </p:otherStyle>
  </p:txStyles>
  <p:extLst>
    <p:ext uri="{27BBF7A9-308A-43DC-89C8-2F10F3537804}">
      <p15:sldGuideLst xmlns:p15="http://schemas.microsoft.com/office/powerpoint/2012/main">
        <p15:guide id="1" pos="356">
          <p15:clr>
            <a:srgbClr val="F26B43"/>
          </p15:clr>
        </p15:guide>
        <p15:guide id="2" pos="7392">
          <p15:clr>
            <a:srgbClr val="F26B43"/>
          </p15:clr>
        </p15:guide>
        <p15:guide id="3" pos="729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dieboldnixdorf.com/en-us/banking/portfolio/services/maintenance-services/data-driven-service-model/" TargetMode="External"/><Relationship Id="rId3" Type="http://schemas.openxmlformats.org/officeDocument/2006/relationships/notesSlide" Target="../notesSlides/notesSlide1.xml"/><Relationship Id="rId7" Type="http://schemas.openxmlformats.org/officeDocument/2006/relationships/hyperlink" Target="https://www.youtube.com/watch?v=skEEzb7q16k" TargetMode="Externa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hyperlink" Target="https://www.dieboldnixdorf.com/en-us/banking/portfolio/dn-series" TargetMode="External"/><Relationship Id="rId11" Type="http://schemas.openxmlformats.org/officeDocument/2006/relationships/image" Target="../media/image5.png"/><Relationship Id="rId5" Type="http://schemas.openxmlformats.org/officeDocument/2006/relationships/hyperlink" Target="https://www.dieboldnixdorf.com/en-us/banking/portfolio/software/" TargetMode="External"/><Relationship Id="rId10" Type="http://schemas.openxmlformats.org/officeDocument/2006/relationships/image" Target="../media/image4.emf"/><Relationship Id="rId4" Type="http://schemas.openxmlformats.org/officeDocument/2006/relationships/image" Target="../media/image3.jpeg"/><Relationship Id="rId9"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a:extLst>
              <a:ext uri="{FF2B5EF4-FFF2-40B4-BE49-F238E27FC236}">
                <a16:creationId xmlns:a16="http://schemas.microsoft.com/office/drawing/2014/main" id="{509361F6-2EE1-4F96-8F9D-7AFCD7E8500A}"/>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4750" y="-3297"/>
            <a:ext cx="11730505" cy="1828800"/>
          </a:xfrm>
          <a:prstGeom prst="rect">
            <a:avLst/>
          </a:prstGeom>
        </p:spPr>
      </p:pic>
      <p:sp>
        <p:nvSpPr>
          <p:cNvPr id="64" name="Freeform: Shape 63">
            <a:extLst>
              <a:ext uri="{FF2B5EF4-FFF2-40B4-BE49-F238E27FC236}">
                <a16:creationId xmlns:a16="http://schemas.microsoft.com/office/drawing/2014/main" id="{BCA186A6-D9DA-41DC-B65F-79AA865AC0D6}"/>
              </a:ext>
              <a:ext uri="{C183D7F6-B498-43B3-948B-1728B52AA6E4}">
                <adec:decorative xmlns:adec="http://schemas.microsoft.com/office/drawing/2017/decorative" val="1"/>
              </a:ext>
            </a:extLst>
          </p:cNvPr>
          <p:cNvSpPr/>
          <p:nvPr/>
        </p:nvSpPr>
        <p:spPr>
          <a:xfrm>
            <a:off x="-4750" y="-89"/>
            <a:ext cx="11725359" cy="1828800"/>
          </a:xfrm>
          <a:custGeom>
            <a:avLst/>
            <a:gdLst>
              <a:gd name="connsiteX0" fmla="*/ 0 w 11725359"/>
              <a:gd name="connsiteY0" fmla="*/ 0 h 1828800"/>
              <a:gd name="connsiteX1" fmla="*/ 11725359 w 11725359"/>
              <a:gd name="connsiteY1" fmla="*/ 0 h 1828800"/>
              <a:gd name="connsiteX2" fmla="*/ 11725359 w 11725359"/>
              <a:gd name="connsiteY2" fmla="*/ 1828800 h 1828800"/>
              <a:gd name="connsiteX3" fmla="*/ 0 w 11725359"/>
              <a:gd name="connsiteY3" fmla="*/ 1828800 h 1828800"/>
            </a:gdLst>
            <a:ahLst/>
            <a:cxnLst>
              <a:cxn ang="0">
                <a:pos x="connsiteX0" y="connsiteY0"/>
              </a:cxn>
              <a:cxn ang="0">
                <a:pos x="connsiteX1" y="connsiteY1"/>
              </a:cxn>
              <a:cxn ang="0">
                <a:pos x="connsiteX2" y="connsiteY2"/>
              </a:cxn>
              <a:cxn ang="0">
                <a:pos x="connsiteX3" y="connsiteY3"/>
              </a:cxn>
            </a:cxnLst>
            <a:rect l="l" t="t" r="r" b="b"/>
            <a:pathLst>
              <a:path w="11725359" h="1828800">
                <a:moveTo>
                  <a:pt x="0" y="0"/>
                </a:moveTo>
                <a:lnTo>
                  <a:pt x="11725359" y="0"/>
                </a:lnTo>
                <a:lnTo>
                  <a:pt x="11725359" y="1828800"/>
                </a:lnTo>
                <a:lnTo>
                  <a:pt x="0" y="1828800"/>
                </a:lnTo>
                <a:close/>
              </a:path>
            </a:pathLst>
          </a:cu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68" name="Rectangle 67">
            <a:hlinkClick r:id="" action="ppaction://noaction"/>
            <a:extLst>
              <a:ext uri="{FF2B5EF4-FFF2-40B4-BE49-F238E27FC236}">
                <a16:creationId xmlns:a16="http://schemas.microsoft.com/office/drawing/2014/main" id="{D11E3F1C-B569-4975-A614-D09A3C888D79}"/>
              </a:ext>
              <a:ext uri="{C183D7F6-B498-43B3-948B-1728B52AA6E4}">
                <adec:decorative xmlns:adec="http://schemas.microsoft.com/office/drawing/2017/decorative" val="1"/>
              </a:ext>
            </a:extLst>
          </p:cNvPr>
          <p:cNvSpPr/>
          <p:nvPr/>
        </p:nvSpPr>
        <p:spPr>
          <a:xfrm>
            <a:off x="9483793" y="122826"/>
            <a:ext cx="1527831" cy="576072"/>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alpha val="90000"/>
                </a:prstClr>
              </a:solidFill>
              <a:effectLst/>
              <a:uLnTx/>
              <a:uFillTx/>
              <a:latin typeface="Intel Clear"/>
              <a:ea typeface="+mn-ea"/>
              <a:cs typeface="+mn-cs"/>
              <a:sym typeface="Helvetica Neue"/>
            </a:endParaRPr>
          </a:p>
        </p:txBody>
      </p:sp>
      <p:sp>
        <p:nvSpPr>
          <p:cNvPr id="69" name="Rectangle 68">
            <a:hlinkClick r:id="" action="ppaction://noaction"/>
            <a:extLst>
              <a:ext uri="{FF2B5EF4-FFF2-40B4-BE49-F238E27FC236}">
                <a16:creationId xmlns:a16="http://schemas.microsoft.com/office/drawing/2014/main" id="{B750EE0A-8F0C-459F-87E5-D4932A21C469}"/>
              </a:ext>
              <a:ext uri="{C183D7F6-B498-43B3-948B-1728B52AA6E4}">
                <adec:decorative xmlns:adec="http://schemas.microsoft.com/office/drawing/2017/decorative" val="1"/>
              </a:ext>
            </a:extLst>
          </p:cNvPr>
          <p:cNvSpPr/>
          <p:nvPr/>
        </p:nvSpPr>
        <p:spPr>
          <a:xfrm>
            <a:off x="8075252" y="122826"/>
            <a:ext cx="1325880" cy="576072"/>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alpha val="90000"/>
                </a:prstClr>
              </a:solidFill>
              <a:effectLst/>
              <a:uLnTx/>
              <a:uFillTx/>
              <a:latin typeface="Intel Clear"/>
              <a:ea typeface="+mn-ea"/>
              <a:cs typeface="+mn-cs"/>
              <a:sym typeface="Helvetica Neue"/>
            </a:endParaRPr>
          </a:p>
        </p:txBody>
      </p:sp>
      <p:sp>
        <p:nvSpPr>
          <p:cNvPr id="101" name="Text Placeholder 49">
            <a:extLst>
              <a:ext uri="{FF2B5EF4-FFF2-40B4-BE49-F238E27FC236}">
                <a16:creationId xmlns:a16="http://schemas.microsoft.com/office/drawing/2014/main" id="{E04BEC2D-D2F0-43E1-BEA2-372997463E7A}"/>
              </a:ext>
            </a:extLst>
          </p:cNvPr>
          <p:cNvSpPr txBox="1">
            <a:spLocks/>
          </p:cNvSpPr>
          <p:nvPr/>
        </p:nvSpPr>
        <p:spPr>
          <a:xfrm>
            <a:off x="9630134" y="2073410"/>
            <a:ext cx="1857018" cy="510396"/>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914400" rtl="0" eaLnBrk="1" fontAlgn="auto" latinLnBrk="0" hangingPunct="1">
              <a:lnSpc>
                <a:spcPct val="100000"/>
              </a:lnSpc>
              <a:spcBef>
                <a:spcPts val="0"/>
              </a:spcBef>
              <a:spcAft>
                <a:spcPts val="100"/>
              </a:spcAft>
              <a:buClrTx/>
              <a:buSzTx/>
              <a:buFont typeface="Wingdings" pitchFamily="2" charset="2"/>
              <a:buNone/>
              <a:tabLst/>
              <a:defRPr/>
            </a:pPr>
            <a:r>
              <a:rPr kumimoji="0" lang="en-US" sz="1050" b="1" i="0" u="none" strike="noStrike" kern="1200" cap="none" spc="0" normalizeH="0" baseline="0" noProof="0">
                <a:ln>
                  <a:noFill/>
                </a:ln>
                <a:solidFill>
                  <a:srgbClr val="525252"/>
                </a:solidFill>
                <a:effectLst/>
                <a:uLnTx/>
                <a:uFillTx/>
                <a:latin typeface="IntelOne Text"/>
                <a:ea typeface="Intel Clear Light" panose="020B0404020203020204" pitchFamily="34" charset="0"/>
                <a:cs typeface="Intel Clear Light" panose="020B0404020203020204" pitchFamily="34" charset="0"/>
                <a:sym typeface="Helvetica Neue"/>
              </a:rPr>
              <a:t>Target Vertical: </a:t>
            </a:r>
          </a:p>
          <a:p>
            <a:pPr marL="0" marR="0" lvl="0" indent="0" algn="l" defTabSz="914400" rtl="0" eaLnBrk="1" fontAlgn="auto" latinLnBrk="0" hangingPunct="1">
              <a:lnSpc>
                <a:spcPct val="100000"/>
              </a:lnSpc>
              <a:spcBef>
                <a:spcPts val="0"/>
              </a:spcBef>
              <a:spcAft>
                <a:spcPts val="100"/>
              </a:spcAft>
              <a:buClrTx/>
              <a:buSzTx/>
              <a:buFont typeface="Wingdings" pitchFamily="2" charset="2"/>
              <a:buNone/>
              <a:tabLst/>
              <a:defRPr/>
            </a:pPr>
            <a:r>
              <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hlinkClick r:id="" action="ppaction://noaction">
                  <a:extLst>
                    <a:ext uri="{A12FA001-AC4F-418D-AE19-62706E023703}">
                      <ahyp:hlinkClr xmlns:ahyp="http://schemas.microsoft.com/office/drawing/2018/hyperlinkcolor" val="tx"/>
                    </a:ext>
                  </a:extLst>
                </a:hlinkClick>
              </a:rPr>
              <a:t>Banking/FSI</a:t>
            </a:r>
            <a:endPar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endParaRPr>
          </a:p>
          <a:p>
            <a:pPr marL="0" marR="0" lvl="0" indent="0" algn="l" defTabSz="914400" rtl="0" eaLnBrk="1" fontAlgn="auto" latinLnBrk="0" hangingPunct="1">
              <a:lnSpc>
                <a:spcPct val="100000"/>
              </a:lnSpc>
              <a:spcBef>
                <a:spcPts val="0"/>
              </a:spcBef>
              <a:spcAft>
                <a:spcPts val="100"/>
              </a:spcAft>
              <a:buClrTx/>
              <a:buSzTx/>
              <a:buFont typeface="Wingdings" pitchFamily="2" charset="2"/>
              <a:buNone/>
              <a:tabLst/>
              <a:defRPr/>
            </a:pPr>
            <a:endPar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endParaRPr>
          </a:p>
        </p:txBody>
      </p:sp>
      <p:cxnSp>
        <p:nvCxnSpPr>
          <p:cNvPr id="110" name="Straight Connector 109">
            <a:extLst>
              <a:ext uri="{FF2B5EF4-FFF2-40B4-BE49-F238E27FC236}">
                <a16:creationId xmlns:a16="http://schemas.microsoft.com/office/drawing/2014/main" id="{3FF90119-74B5-41C1-8B99-0AC46AFCAC09}"/>
              </a:ext>
              <a:ext uri="{C183D7F6-B498-43B3-948B-1728B52AA6E4}">
                <adec:decorative xmlns:adec="http://schemas.microsoft.com/office/drawing/2017/decorative" val="1"/>
              </a:ext>
            </a:extLst>
          </p:cNvPr>
          <p:cNvCxnSpPr>
            <a:cxnSpLocks/>
          </p:cNvCxnSpPr>
          <p:nvPr/>
        </p:nvCxnSpPr>
        <p:spPr>
          <a:xfrm>
            <a:off x="9767134" y="2549530"/>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111" name="Text Placeholder 49">
            <a:extLst>
              <a:ext uri="{FF2B5EF4-FFF2-40B4-BE49-F238E27FC236}">
                <a16:creationId xmlns:a16="http://schemas.microsoft.com/office/drawing/2014/main" id="{DD363DEC-D4FC-4DF9-826C-2B0B4630B1D8}"/>
              </a:ext>
            </a:extLst>
          </p:cNvPr>
          <p:cNvSpPr txBox="1">
            <a:spLocks/>
          </p:cNvSpPr>
          <p:nvPr/>
        </p:nvSpPr>
        <p:spPr>
          <a:xfrm>
            <a:off x="9630133" y="2676855"/>
            <a:ext cx="1857018" cy="1331134"/>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914400" rtl="0" eaLnBrk="1" fontAlgn="auto" latinLnBrk="0" hangingPunct="1">
              <a:lnSpc>
                <a:spcPct val="100000"/>
              </a:lnSpc>
              <a:spcBef>
                <a:spcPts val="0"/>
              </a:spcBef>
              <a:spcAft>
                <a:spcPts val="100"/>
              </a:spcAft>
              <a:buClrTx/>
              <a:buSzTx/>
              <a:buFont typeface="Wingdings" pitchFamily="2" charset="2"/>
              <a:buNone/>
              <a:tabLst/>
              <a:defRPr/>
            </a:pPr>
            <a:r>
              <a:rPr kumimoji="0" lang="en-US" sz="1050" b="1"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rPr>
              <a:t>Target Use Case: </a:t>
            </a:r>
          </a:p>
          <a:p>
            <a:pPr marL="0" marR="0" lvl="0" indent="0" algn="l" defTabSz="914400" rtl="0" eaLnBrk="1" fontAlgn="auto" latinLnBrk="0" hangingPunct="1">
              <a:lnSpc>
                <a:spcPct val="100000"/>
              </a:lnSpc>
              <a:spcBef>
                <a:spcPts val="0"/>
              </a:spcBef>
              <a:spcAft>
                <a:spcPts val="100"/>
              </a:spcAft>
              <a:buClrTx/>
              <a:buSzTx/>
              <a:buFont typeface="Wingdings" pitchFamily="2" charset="2"/>
              <a:buNone/>
              <a:tabLst/>
              <a:defRPr/>
            </a:pPr>
            <a:r>
              <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hlinkClick r:id="" action="ppaction://noaction">
                  <a:extLst>
                    <a:ext uri="{A12FA001-AC4F-418D-AE19-62706E023703}">
                      <ahyp:hlinkClr xmlns:ahyp="http://schemas.microsoft.com/office/drawing/2018/hyperlinkcolor" val="tx"/>
                    </a:ext>
                  </a:extLst>
                </a:hlinkClick>
              </a:rPr>
              <a:t>Asset &amp; Operations Optimization</a:t>
            </a:r>
            <a:endPar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endParaRPr>
          </a:p>
          <a:p>
            <a:pPr marL="0" marR="0" lvl="0" indent="0" algn="l" defTabSz="914400" rtl="0" eaLnBrk="1" fontAlgn="auto" latinLnBrk="0" hangingPunct="1">
              <a:lnSpc>
                <a:spcPct val="100000"/>
              </a:lnSpc>
              <a:spcBef>
                <a:spcPts val="0"/>
              </a:spcBef>
              <a:spcAft>
                <a:spcPts val="100"/>
              </a:spcAft>
              <a:buClrTx/>
              <a:buSzTx/>
              <a:buFont typeface="Wingdings" pitchFamily="2" charset="2"/>
              <a:buNone/>
              <a:tabLst/>
              <a:defRPr/>
            </a:pPr>
            <a:endPar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endParaRPr>
          </a:p>
          <a:p>
            <a:pPr marL="0" marR="0" lvl="0" indent="0" algn="l" defTabSz="914400" rtl="0" eaLnBrk="1" fontAlgn="auto" latinLnBrk="0" hangingPunct="1">
              <a:lnSpc>
                <a:spcPct val="100000"/>
              </a:lnSpc>
              <a:spcBef>
                <a:spcPts val="0"/>
              </a:spcBef>
              <a:spcAft>
                <a:spcPts val="100"/>
              </a:spcAft>
              <a:buClrTx/>
              <a:buSzTx/>
              <a:buFont typeface="Wingdings" pitchFamily="2" charset="2"/>
              <a:buNone/>
              <a:tabLst/>
              <a:defRPr/>
            </a:pPr>
            <a:r>
              <a:rPr kumimoji="0" lang="en-US" sz="1050" b="1"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rPr>
              <a:t>Secondary Use Cases</a:t>
            </a:r>
            <a:r>
              <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rPr>
              <a:t>: </a:t>
            </a:r>
            <a:r>
              <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hlinkClick r:id="" action="ppaction://noaction">
                  <a:extLst>
                    <a:ext uri="{A12FA001-AC4F-418D-AE19-62706E023703}">
                      <ahyp:hlinkClr xmlns:ahyp="http://schemas.microsoft.com/office/drawing/2018/hyperlinkcolor" val="tx"/>
                    </a:ext>
                  </a:extLst>
                </a:hlinkClick>
              </a:rPr>
              <a:t>Logistics &amp; Tracking</a:t>
            </a:r>
            <a:r>
              <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rPr>
              <a:t>, </a:t>
            </a:r>
            <a:r>
              <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hlinkClick r:id="" action="ppaction://noaction">
                  <a:extLst>
                    <a:ext uri="{A12FA001-AC4F-418D-AE19-62706E023703}">
                      <ahyp:hlinkClr xmlns:ahyp="http://schemas.microsoft.com/office/drawing/2018/hyperlinkcolor" val="tx"/>
                    </a:ext>
                  </a:extLst>
                </a:hlinkClick>
              </a:rPr>
              <a:t>Machine Condition Monitoring</a:t>
            </a:r>
            <a:endPar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Neue"/>
            </a:endParaRPr>
          </a:p>
        </p:txBody>
      </p:sp>
      <p:cxnSp>
        <p:nvCxnSpPr>
          <p:cNvPr id="112" name="Straight Connector 111">
            <a:extLst>
              <a:ext uri="{FF2B5EF4-FFF2-40B4-BE49-F238E27FC236}">
                <a16:creationId xmlns:a16="http://schemas.microsoft.com/office/drawing/2014/main" id="{61C7D837-7BF3-451A-BFA5-9CC9AC4782F9}"/>
              </a:ext>
              <a:ext uri="{C183D7F6-B498-43B3-948B-1728B52AA6E4}">
                <adec:decorative xmlns:adec="http://schemas.microsoft.com/office/drawing/2017/decorative" val="1"/>
              </a:ext>
            </a:extLst>
          </p:cNvPr>
          <p:cNvCxnSpPr>
            <a:cxnSpLocks/>
          </p:cNvCxnSpPr>
          <p:nvPr/>
        </p:nvCxnSpPr>
        <p:spPr>
          <a:xfrm>
            <a:off x="9776099" y="4054575"/>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113" name="Text Placeholder 49">
            <a:extLst>
              <a:ext uri="{FF2B5EF4-FFF2-40B4-BE49-F238E27FC236}">
                <a16:creationId xmlns:a16="http://schemas.microsoft.com/office/drawing/2014/main" id="{4A428055-5461-453F-B764-497123552B09}"/>
              </a:ext>
            </a:extLst>
          </p:cNvPr>
          <p:cNvSpPr txBox="1">
            <a:spLocks/>
          </p:cNvSpPr>
          <p:nvPr/>
        </p:nvSpPr>
        <p:spPr>
          <a:xfrm>
            <a:off x="9630134" y="4122906"/>
            <a:ext cx="1857018" cy="659155"/>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100"/>
              </a:spcAft>
              <a:buClrTx/>
              <a:buSzTx/>
              <a:buFont typeface="Wingdings" pitchFamily="2" charset="2"/>
              <a:buNone/>
              <a:tabLst/>
              <a:defRPr/>
            </a:pPr>
            <a:r>
              <a:rPr kumimoji="0" lang="en-US" sz="1050" b="1"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a:rPr>
              <a:t>Geo Availability</a:t>
            </a:r>
          </a:p>
          <a:p>
            <a:pPr marL="0" marR="0" lvl="0" indent="0" algn="l" defTabSz="914400" rtl="0" eaLnBrk="1" fontAlgn="auto" latinLnBrk="0" hangingPunct="1">
              <a:lnSpc>
                <a:spcPct val="100000"/>
              </a:lnSpc>
              <a:spcBef>
                <a:spcPts val="0"/>
              </a:spcBef>
              <a:spcAft>
                <a:spcPts val="100"/>
              </a:spcAft>
              <a:buClrTx/>
              <a:buSzTx/>
              <a:buFont typeface="Wingdings" pitchFamily="2" charset="2"/>
              <a:buNone/>
              <a:tabLst/>
              <a:defRPr/>
            </a:pPr>
            <a:r>
              <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a:rPr>
              <a:t>Asia, Pacific, Americas, Europe, Middle East, and Africa</a:t>
            </a:r>
          </a:p>
        </p:txBody>
      </p:sp>
      <p:cxnSp>
        <p:nvCxnSpPr>
          <p:cNvPr id="114" name="Straight Connector 113">
            <a:extLst>
              <a:ext uri="{FF2B5EF4-FFF2-40B4-BE49-F238E27FC236}">
                <a16:creationId xmlns:a16="http://schemas.microsoft.com/office/drawing/2014/main" id="{9FE5AD80-125B-4544-8DF1-B512389D4CD3}"/>
              </a:ext>
              <a:ext uri="{C183D7F6-B498-43B3-948B-1728B52AA6E4}">
                <adec:decorative xmlns:adec="http://schemas.microsoft.com/office/drawing/2017/decorative" val="1"/>
              </a:ext>
            </a:extLst>
          </p:cNvPr>
          <p:cNvCxnSpPr>
            <a:cxnSpLocks/>
          </p:cNvCxnSpPr>
          <p:nvPr/>
        </p:nvCxnSpPr>
        <p:spPr>
          <a:xfrm>
            <a:off x="9751364" y="4851700"/>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115" name="TextBox 114">
            <a:extLst>
              <a:ext uri="{FF2B5EF4-FFF2-40B4-BE49-F238E27FC236}">
                <a16:creationId xmlns:a16="http://schemas.microsoft.com/office/drawing/2014/main" id="{AB71C1A8-209F-4D3A-8928-22458CEE6654}"/>
              </a:ext>
            </a:extLst>
          </p:cNvPr>
          <p:cNvSpPr txBox="1"/>
          <p:nvPr/>
        </p:nvSpPr>
        <p:spPr>
          <a:xfrm>
            <a:off x="9630133" y="4959360"/>
            <a:ext cx="1770946" cy="13054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45720" tIns="0" rIns="45720" bIns="0">
            <a:sp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0" lang="en-US" sz="1050" b="1"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a:rPr>
              <a:t>Learn More</a:t>
            </a:r>
          </a:p>
          <a:p>
            <a:pPr marL="109728" marR="0" lvl="0" indent="-10972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hlinkClick r:id="rId5">
                  <a:extLst>
                    <a:ext uri="{A12FA001-AC4F-418D-AE19-62706E023703}">
                      <ahyp:hlinkClr xmlns:ahyp="http://schemas.microsoft.com/office/drawing/2018/hyperlinkcolor" val="tx"/>
                    </a:ext>
                  </a:extLst>
                </a:hlinkClick>
              </a:rPr>
              <a:t>Diebold Nixdorf Software Portfolio</a:t>
            </a:r>
            <a:endPar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endParaRPr>
          </a:p>
          <a:p>
            <a:pPr marL="109728" marR="0" lvl="0" indent="-10972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hlinkClick r:id="rId6">
                  <a:extLst>
                    <a:ext uri="{A12FA001-AC4F-418D-AE19-62706E023703}">
                      <ahyp:hlinkClr xmlns:ahyp="http://schemas.microsoft.com/office/drawing/2018/hyperlinkcolor" val="tx"/>
                    </a:ext>
                  </a:extLst>
                </a:hlinkClick>
              </a:rPr>
              <a:t>Diebold Nixdorf Solutions Portfolio</a:t>
            </a:r>
            <a:endPar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endParaRPr>
          </a:p>
          <a:p>
            <a:pPr marL="109728" marR="0" lvl="0" indent="-10972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hlinkClick r:id="rId7">
                  <a:extLst>
                    <a:ext uri="{A12FA001-AC4F-418D-AE19-62706E023703}">
                      <ahyp:hlinkClr xmlns:ahyp="http://schemas.microsoft.com/office/drawing/2018/hyperlinkcolor" val="tx"/>
                    </a:ext>
                  </a:extLst>
                </a:hlinkClick>
              </a:rPr>
              <a:t>Solution Video (YouTube)</a:t>
            </a:r>
            <a:endPar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endParaRPr>
          </a:p>
          <a:p>
            <a:pPr marL="109728" marR="0" lvl="0" indent="-10972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hlinkClick r:id="rId8">
                  <a:extLst>
                    <a:ext uri="{A12FA001-AC4F-418D-AE19-62706E023703}">
                      <ahyp:hlinkClr xmlns:ahyp="http://schemas.microsoft.com/office/drawing/2018/hyperlinkcolor" val="tx"/>
                    </a:ext>
                  </a:extLst>
                </a:hlinkClick>
              </a:rPr>
              <a:t>Solution Webpage</a:t>
            </a:r>
            <a:endPar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endParaRPr>
          </a:p>
        </p:txBody>
      </p:sp>
      <p:sp>
        <p:nvSpPr>
          <p:cNvPr id="117" name="Rectangle 116">
            <a:extLst>
              <a:ext uri="{FF2B5EF4-FFF2-40B4-BE49-F238E27FC236}">
                <a16:creationId xmlns:a16="http://schemas.microsoft.com/office/drawing/2014/main" id="{C7F3B2DF-44F7-40DD-991B-A70DB454DC80}"/>
              </a:ext>
              <a:ext uri="{C183D7F6-B498-43B3-948B-1728B52AA6E4}">
                <adec:decorative xmlns:adec="http://schemas.microsoft.com/office/drawing/2017/decorative" val="1"/>
              </a:ext>
            </a:extLst>
          </p:cNvPr>
          <p:cNvSpPr/>
          <p:nvPr/>
        </p:nvSpPr>
        <p:spPr>
          <a:xfrm>
            <a:off x="253315" y="1972774"/>
            <a:ext cx="182880" cy="182880"/>
          </a:xfrm>
          <a:prstGeom prst="rect">
            <a:avLst/>
          </a:prstGeom>
          <a:solidFill>
            <a:srgbClr val="41728A"/>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118" name="Straight Connector 117">
            <a:extLst>
              <a:ext uri="{FF2B5EF4-FFF2-40B4-BE49-F238E27FC236}">
                <a16:creationId xmlns:a16="http://schemas.microsoft.com/office/drawing/2014/main" id="{64AF0730-AAE5-4D55-AE2D-6E73347069FE}"/>
              </a:ext>
              <a:ext uri="{C183D7F6-B498-43B3-948B-1728B52AA6E4}">
                <adec:decorative xmlns:adec="http://schemas.microsoft.com/office/drawing/2017/decorative" val="1"/>
              </a:ext>
            </a:extLst>
          </p:cNvPr>
          <p:cNvCxnSpPr>
            <a:cxnSpLocks/>
          </p:cNvCxnSpPr>
          <p:nvPr/>
        </p:nvCxnSpPr>
        <p:spPr>
          <a:xfrm>
            <a:off x="435790" y="2168332"/>
            <a:ext cx="8998866" cy="0"/>
          </a:xfrm>
          <a:prstGeom prst="line">
            <a:avLst/>
          </a:prstGeom>
          <a:noFill/>
          <a:ln w="2540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120" name="Rectangle 119">
            <a:extLst>
              <a:ext uri="{FF2B5EF4-FFF2-40B4-BE49-F238E27FC236}">
                <a16:creationId xmlns:a16="http://schemas.microsoft.com/office/drawing/2014/main" id="{FFEBF4AA-E1B2-43C7-9D07-F6F0529CFBC4}"/>
              </a:ext>
              <a:ext uri="{C183D7F6-B498-43B3-948B-1728B52AA6E4}">
                <adec:decorative xmlns:adec="http://schemas.microsoft.com/office/drawing/2017/decorative" val="1"/>
              </a:ext>
            </a:extLst>
          </p:cNvPr>
          <p:cNvSpPr/>
          <p:nvPr/>
        </p:nvSpPr>
        <p:spPr>
          <a:xfrm>
            <a:off x="242507" y="3447183"/>
            <a:ext cx="182880" cy="182880"/>
          </a:xfrm>
          <a:prstGeom prst="rect">
            <a:avLst/>
          </a:prstGeom>
          <a:solidFill>
            <a:srgbClr val="41728A"/>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sp>
        <p:nvSpPr>
          <p:cNvPr id="130" name="Rectangle 129">
            <a:extLst>
              <a:ext uri="{FF2B5EF4-FFF2-40B4-BE49-F238E27FC236}">
                <a16:creationId xmlns:a16="http://schemas.microsoft.com/office/drawing/2014/main" id="{D1505931-F577-4B19-9EE5-BB951E2F5980}"/>
              </a:ext>
              <a:ext uri="{C183D7F6-B498-43B3-948B-1728B52AA6E4}">
                <adec:decorative xmlns:adec="http://schemas.microsoft.com/office/drawing/2017/decorative" val="1"/>
              </a:ext>
            </a:extLst>
          </p:cNvPr>
          <p:cNvSpPr/>
          <p:nvPr/>
        </p:nvSpPr>
        <p:spPr>
          <a:xfrm>
            <a:off x="250528" y="5782049"/>
            <a:ext cx="182880" cy="182880"/>
          </a:xfrm>
          <a:prstGeom prst="rect">
            <a:avLst/>
          </a:prstGeom>
          <a:solidFill>
            <a:srgbClr val="41728A"/>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133" name="Straight Connector 132">
            <a:extLst>
              <a:ext uri="{FF2B5EF4-FFF2-40B4-BE49-F238E27FC236}">
                <a16:creationId xmlns:a16="http://schemas.microsoft.com/office/drawing/2014/main" id="{9998626A-FD6F-4748-A245-BA17698BE7E4}"/>
              </a:ext>
              <a:ext uri="{C183D7F6-B498-43B3-948B-1728B52AA6E4}">
                <adec:decorative xmlns:adec="http://schemas.microsoft.com/office/drawing/2017/decorative" val="1"/>
              </a:ext>
            </a:extLst>
          </p:cNvPr>
          <p:cNvCxnSpPr>
            <a:cxnSpLocks/>
          </p:cNvCxnSpPr>
          <p:nvPr/>
        </p:nvCxnSpPr>
        <p:spPr>
          <a:xfrm>
            <a:off x="425386" y="3641968"/>
            <a:ext cx="4206240" cy="0"/>
          </a:xfrm>
          <a:prstGeom prst="line">
            <a:avLst/>
          </a:prstGeom>
          <a:noFill/>
          <a:ln w="2540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34" name="Straight Connector 133">
            <a:extLst>
              <a:ext uri="{FF2B5EF4-FFF2-40B4-BE49-F238E27FC236}">
                <a16:creationId xmlns:a16="http://schemas.microsoft.com/office/drawing/2014/main" id="{11857988-A37A-482E-96B5-ABF455AB19B4}"/>
              </a:ext>
              <a:ext uri="{C183D7F6-B498-43B3-948B-1728B52AA6E4}">
                <adec:decorative xmlns:adec="http://schemas.microsoft.com/office/drawing/2017/decorative" val="1"/>
              </a:ext>
            </a:extLst>
          </p:cNvPr>
          <p:cNvCxnSpPr>
            <a:cxnSpLocks/>
          </p:cNvCxnSpPr>
          <p:nvPr/>
        </p:nvCxnSpPr>
        <p:spPr>
          <a:xfrm>
            <a:off x="433406" y="5976834"/>
            <a:ext cx="4206240" cy="0"/>
          </a:xfrm>
          <a:prstGeom prst="line">
            <a:avLst/>
          </a:prstGeom>
          <a:noFill/>
          <a:ln w="2540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graphicFrame>
        <p:nvGraphicFramePr>
          <p:cNvPr id="65" name="Object 64">
            <a:extLst>
              <a:ext uri="{FF2B5EF4-FFF2-40B4-BE49-F238E27FC236}">
                <a16:creationId xmlns:a16="http://schemas.microsoft.com/office/drawing/2014/main" id="{CC113382-1A1E-40F0-843D-18D3EB8FAAA1}"/>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65" name="Object 64">
                        <a:extLst>
                          <a:ext uri="{FF2B5EF4-FFF2-40B4-BE49-F238E27FC236}">
                            <a16:creationId xmlns:a16="http://schemas.microsoft.com/office/drawing/2014/main" id="{CC113382-1A1E-40F0-843D-18D3EB8FAAA1}"/>
                          </a:ext>
                          <a:ext uri="{C183D7F6-B498-43B3-948B-1728B52AA6E4}">
                            <adec:decorative xmlns:adec="http://schemas.microsoft.com/office/drawing/2017/decorative" val="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6" name="Rectangle 65">
            <a:hlinkClick r:id="" action="ppaction://noaction"/>
            <a:extLst>
              <a:ext uri="{FF2B5EF4-FFF2-40B4-BE49-F238E27FC236}">
                <a16:creationId xmlns:a16="http://schemas.microsoft.com/office/drawing/2014/main" id="{6C22CC73-D7FE-4D3F-8650-88609142A696}"/>
              </a:ext>
            </a:extLst>
          </p:cNvPr>
          <p:cNvSpPr/>
          <p:nvPr/>
        </p:nvSpPr>
        <p:spPr>
          <a:xfrm>
            <a:off x="8115299" y="161507"/>
            <a:ext cx="1247775" cy="498711"/>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Back to Banking/FSI Solutions</a:t>
            </a:r>
          </a:p>
        </p:txBody>
      </p:sp>
      <p:sp>
        <p:nvSpPr>
          <p:cNvPr id="67" name="Rectangle 66">
            <a:hlinkClick r:id="" action="ppaction://noaction"/>
            <a:extLst>
              <a:ext uri="{FF2B5EF4-FFF2-40B4-BE49-F238E27FC236}">
                <a16:creationId xmlns:a16="http://schemas.microsoft.com/office/drawing/2014/main" id="{D19A16E3-17DB-4DE1-B546-CFF2849DD8F6}"/>
              </a:ext>
            </a:extLst>
          </p:cNvPr>
          <p:cNvSpPr/>
          <p:nvPr/>
        </p:nvSpPr>
        <p:spPr>
          <a:xfrm>
            <a:off x="9527381" y="161507"/>
            <a:ext cx="1440657" cy="498711"/>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Back to Asset &amp; Operations Optimization</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Use Cases</a:t>
            </a:r>
          </a:p>
        </p:txBody>
      </p:sp>
      <p:sp>
        <p:nvSpPr>
          <p:cNvPr id="62" name="Title 2">
            <a:extLst>
              <a:ext uri="{FF2B5EF4-FFF2-40B4-BE49-F238E27FC236}">
                <a16:creationId xmlns:a16="http://schemas.microsoft.com/office/drawing/2014/main" id="{14E882A2-8A49-62F1-A3DA-7C2D5AA1474B}"/>
              </a:ext>
            </a:extLst>
          </p:cNvPr>
          <p:cNvSpPr txBox="1">
            <a:spLocks/>
          </p:cNvSpPr>
          <p:nvPr/>
        </p:nvSpPr>
        <p:spPr>
          <a:xfrm>
            <a:off x="250528" y="935091"/>
            <a:ext cx="10972801" cy="883673"/>
          </a:xfrm>
          <a:prstGeom prst="rect">
            <a:avLst/>
          </a:prstGeom>
        </p:spPr>
        <p:txBody>
          <a:bodyPr/>
          <a:lstStyle>
            <a:lvl1pPr marL="0" marR="0" indent="0" algn="l" defTabSz="609600" latinLnBrk="0">
              <a:lnSpc>
                <a:spcPct val="90000"/>
              </a:lnSpc>
              <a:spcBef>
                <a:spcPts val="0"/>
              </a:spcBef>
              <a:spcAft>
                <a:spcPts val="0"/>
              </a:spcAft>
              <a:buClrTx/>
              <a:buSzTx/>
              <a:buFontTx/>
              <a:buNone/>
              <a:tabLst/>
              <a:defRPr sz="40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1pPr>
            <a:lvl2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2pPr>
            <a:lvl3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3pPr>
            <a:lvl4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4pPr>
            <a:lvl5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5pPr>
            <a:lvl6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6pPr>
            <a:lvl7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7pPr>
            <a:lvl8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8pPr>
            <a:lvl9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IntelOne Display Light"/>
              <a:ea typeface="+mj-ea"/>
              <a:cs typeface="+mj-cs"/>
              <a:sym typeface="Helvetica Neue"/>
            </a:endParaRPr>
          </a:p>
        </p:txBody>
      </p:sp>
      <p:sp>
        <p:nvSpPr>
          <p:cNvPr id="63" name="Content Placeholder 47">
            <a:extLst>
              <a:ext uri="{FF2B5EF4-FFF2-40B4-BE49-F238E27FC236}">
                <a16:creationId xmlns:a16="http://schemas.microsoft.com/office/drawing/2014/main" id="{2DA0246A-BAD0-77B0-C8D7-382E0A86AD8B}"/>
              </a:ext>
              <a:ext uri="{C183D7F6-B498-43B3-948B-1728B52AA6E4}">
                <adec:decorative xmlns:adec="http://schemas.microsoft.com/office/drawing/2017/decorative" val="1"/>
              </a:ext>
            </a:extLst>
          </p:cNvPr>
          <p:cNvSpPr txBox="1">
            <a:spLocks/>
          </p:cNvSpPr>
          <p:nvPr/>
        </p:nvSpPr>
        <p:spPr>
          <a:xfrm>
            <a:off x="519727" y="1971881"/>
            <a:ext cx="2505894"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itchFamily="2" charset="2"/>
              <a:buNone/>
              <a:tabLst/>
              <a:defRPr/>
            </a:pPr>
            <a:r>
              <a:rPr kumimoji="0" lang="en-US" sz="1050" b="1"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Solution Overview</a:t>
            </a:r>
          </a:p>
        </p:txBody>
      </p:sp>
      <p:sp>
        <p:nvSpPr>
          <p:cNvPr id="73" name="Content Placeholder 47">
            <a:extLst>
              <a:ext uri="{FF2B5EF4-FFF2-40B4-BE49-F238E27FC236}">
                <a16:creationId xmlns:a16="http://schemas.microsoft.com/office/drawing/2014/main" id="{84395658-EE0B-565E-B71F-2999551A8E4F}"/>
              </a:ext>
            </a:extLst>
          </p:cNvPr>
          <p:cNvSpPr txBox="1">
            <a:spLocks/>
          </p:cNvSpPr>
          <p:nvPr/>
        </p:nvSpPr>
        <p:spPr>
          <a:xfrm>
            <a:off x="511706" y="3446290"/>
            <a:ext cx="2505894"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itchFamily="2" charset="2"/>
              <a:buNone/>
              <a:tabLst/>
              <a:defRPr/>
            </a:pPr>
            <a:r>
              <a:rPr kumimoji="0" lang="en-US" sz="1050" b="1"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Value Props</a:t>
            </a:r>
          </a:p>
        </p:txBody>
      </p:sp>
      <p:sp>
        <p:nvSpPr>
          <p:cNvPr id="74" name="Content Placeholder 47">
            <a:extLst>
              <a:ext uri="{FF2B5EF4-FFF2-40B4-BE49-F238E27FC236}">
                <a16:creationId xmlns:a16="http://schemas.microsoft.com/office/drawing/2014/main" id="{5B031FA7-5DA6-2846-338A-B2CD4D40D0C2}"/>
              </a:ext>
            </a:extLst>
          </p:cNvPr>
          <p:cNvSpPr txBox="1">
            <a:spLocks/>
          </p:cNvSpPr>
          <p:nvPr/>
        </p:nvSpPr>
        <p:spPr>
          <a:xfrm>
            <a:off x="519727" y="5781156"/>
            <a:ext cx="1645920"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itchFamily="2" charset="2"/>
              <a:buNone/>
              <a:tabLst/>
              <a:defRPr/>
            </a:pPr>
            <a:r>
              <a:rPr kumimoji="0" lang="en-US" sz="1050" b="1"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Intel Components</a:t>
            </a:r>
          </a:p>
        </p:txBody>
      </p:sp>
      <p:sp>
        <p:nvSpPr>
          <p:cNvPr id="76" name="Content Placeholder 47" descr="AWARE is a digital health clinical decision support system that provides a clinical “smart view” of Electronic Health Record data to reduce the risk of medical error and improve patient outcomes. We provide point of care and clinical command center solutions to improve care for conditions like sepsis. It works with your EMR system and bedside monitors to present only relevant information configurable for your care practice on a single screen dashboard.&#10;">
            <a:extLst>
              <a:ext uri="{FF2B5EF4-FFF2-40B4-BE49-F238E27FC236}">
                <a16:creationId xmlns:a16="http://schemas.microsoft.com/office/drawing/2014/main" id="{B5AC213D-A9ED-4F68-BC1E-35D02D3A2DAB}"/>
              </a:ext>
            </a:extLst>
          </p:cNvPr>
          <p:cNvSpPr txBox="1">
            <a:spLocks/>
          </p:cNvSpPr>
          <p:nvPr/>
        </p:nvSpPr>
        <p:spPr>
          <a:xfrm>
            <a:off x="254997" y="2168332"/>
            <a:ext cx="9179659" cy="1186111"/>
          </a:xfrm>
          <a:prstGeom prst="rect">
            <a:avLst/>
          </a:prstGeom>
          <a:ln>
            <a:noFill/>
          </a:ln>
        </p:spPr>
        <p:txBody>
          <a:bodyPr lIns="0" tIns="45720" bIns="91440">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1200"/>
              </a:spcBef>
              <a:spcAft>
                <a:spcPts val="0"/>
              </a:spcAft>
              <a:buClrTx/>
              <a:buSzTx/>
              <a:buFont typeface="Wingdings" pitchFamily="2" charset="2"/>
              <a:buNone/>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rPr>
              <a:t>DN </a:t>
            </a:r>
            <a:r>
              <a:rPr kumimoji="0" lang="en-US" sz="1050" b="0" i="0" u="none" strike="noStrike" kern="1200" cap="none" spc="0" normalizeH="0" baseline="0" noProof="0" err="1">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rPr>
              <a:t>AllConnect</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rPr>
              <a:t> Data Engine for customer-facing endpoints powers DN Maintenance Services to drive higher ATM availability and enable FIs to deliver against the expectations of their clients. The system identifies and tracks patterns that occur throughout the devices’ lifecycles and builds a precise personality profile for each device. Each profile is continually refined based on further data collection and analysis to provide tailored, actionable insights that ensure resolution of incidents on the first attempt and sometimes even prevent potential future incidents. The platform combines Diebold Nixdorf’s decades of unmatched engineering experience, a continuously augmented knowledge base, and the latest developments in IoT, cloud computing and storage, ML, and AI to deliver a solution that helps resolve incidents faster, enables predictive maintenance that prevents failures, and achieves industry-leading first-time fix rates.</a:t>
            </a:r>
            <a:endParaRPr kumimoji="0" lang="en-US" sz="1050" b="0" i="0" u="none" strike="noStrike" kern="1200" cap="none" spc="0" normalizeH="0" baseline="0" noProof="0">
              <a:ln>
                <a:noFill/>
              </a:ln>
              <a:solidFill>
                <a:srgbClr val="525252"/>
              </a:solidFill>
              <a:effectLst/>
              <a:uLnTx/>
              <a:uFillTx/>
              <a:latin typeface="IntelOne Text"/>
              <a:ea typeface="Intel Clear" panose="020B0604020203020204" pitchFamily="34" charset="0"/>
              <a:cs typeface="Intel Clear" panose="020B0604020203020204" pitchFamily="34" charset="0"/>
              <a:sym typeface="Helvetica"/>
            </a:endParaRPr>
          </a:p>
        </p:txBody>
      </p:sp>
      <p:sp>
        <p:nvSpPr>
          <p:cNvPr id="77" name="Content Placeholder 47">
            <a:extLst>
              <a:ext uri="{FF2B5EF4-FFF2-40B4-BE49-F238E27FC236}">
                <a16:creationId xmlns:a16="http://schemas.microsoft.com/office/drawing/2014/main" id="{F9201782-6609-EC57-51F9-569F9B4958A2}"/>
              </a:ext>
            </a:extLst>
          </p:cNvPr>
          <p:cNvSpPr txBox="1">
            <a:spLocks/>
          </p:cNvSpPr>
          <p:nvPr/>
        </p:nvSpPr>
        <p:spPr>
          <a:xfrm>
            <a:off x="250526" y="5994200"/>
            <a:ext cx="4206239" cy="609584"/>
          </a:xfrm>
          <a:prstGeom prst="rect">
            <a:avLst/>
          </a:prstGeom>
          <a:ln>
            <a:noFill/>
          </a:ln>
        </p:spPr>
        <p:txBody>
          <a:bodyPr lIns="0" tIns="45720" bIns="91440" numCol="2">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728" lvl="1" indent="-109728"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594" indent="-197644"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19957"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557"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109728" marR="0" lvl="1" indent="-109728"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rPr>
              <a:t>Intel® Core™ i5 processors</a:t>
            </a:r>
          </a:p>
          <a:p>
            <a:pPr marL="109728" marR="0" lvl="1" indent="-109728"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rPr>
              <a:t>Intel® Core™ i3 processors</a:t>
            </a:r>
          </a:p>
          <a:p>
            <a:pPr marL="109728" marR="0" lvl="1" indent="-109728"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rPr>
              <a:t>Intel®  Celeron® processors</a:t>
            </a:r>
          </a:p>
        </p:txBody>
      </p:sp>
      <p:sp>
        <p:nvSpPr>
          <p:cNvPr id="78" name="Rectangle 77">
            <a:extLst>
              <a:ext uri="{FF2B5EF4-FFF2-40B4-BE49-F238E27FC236}">
                <a16:creationId xmlns:a16="http://schemas.microsoft.com/office/drawing/2014/main" id="{4AE9CA7C-AD77-60FF-EFC7-A321F10AD424}"/>
              </a:ext>
            </a:extLst>
          </p:cNvPr>
          <p:cNvSpPr/>
          <p:nvPr/>
        </p:nvSpPr>
        <p:spPr>
          <a:xfrm>
            <a:off x="724597" y="3661417"/>
            <a:ext cx="4297680" cy="56764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050" b="1" i="0" u="none" strike="noStrike" kern="1200" cap="none" spc="0" normalizeH="0" baseline="0" noProof="0">
                <a:ln>
                  <a:noFill/>
                </a:ln>
                <a:solidFill>
                  <a:srgbClr val="525252"/>
                </a:solidFill>
                <a:effectLst/>
                <a:uLnTx/>
                <a:uFillTx/>
                <a:latin typeface="IntelOne Text" panose="020B0503020203020204" pitchFamily="34" charset="0"/>
                <a:sym typeface="Helvetica Neue"/>
              </a:rPr>
              <a:t>Boost customer satisfaction and loyalty</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 by supporting higher ATM availability for a better user experience.</a:t>
            </a:r>
          </a:p>
        </p:txBody>
      </p:sp>
      <p:sp>
        <p:nvSpPr>
          <p:cNvPr id="79" name="Rectangle 78">
            <a:extLst>
              <a:ext uri="{FF2B5EF4-FFF2-40B4-BE49-F238E27FC236}">
                <a16:creationId xmlns:a16="http://schemas.microsoft.com/office/drawing/2014/main" id="{5A276105-AE3F-5705-1779-F073D1C26C0A}"/>
              </a:ext>
            </a:extLst>
          </p:cNvPr>
          <p:cNvSpPr/>
          <p:nvPr/>
        </p:nvSpPr>
        <p:spPr>
          <a:xfrm>
            <a:off x="724597" y="4297568"/>
            <a:ext cx="4297680" cy="677056"/>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25252"/>
                </a:solidFill>
                <a:effectLst/>
                <a:uLnTx/>
                <a:uFillTx/>
                <a:latin typeface="IntelOne Text" panose="020B0503020203020204" pitchFamily="34" charset="0"/>
                <a:sym typeface="Helvetica Neue"/>
              </a:rPr>
              <a:t>Increase revenue: </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a high-performing network attracts more consumers, drives more transactions, and grants branch staff more time to strengthen consumer relationships that drive improved business outcomes.</a:t>
            </a:r>
          </a:p>
        </p:txBody>
      </p:sp>
      <p:sp>
        <p:nvSpPr>
          <p:cNvPr id="80" name="Rectangle 79">
            <a:extLst>
              <a:ext uri="{FF2B5EF4-FFF2-40B4-BE49-F238E27FC236}">
                <a16:creationId xmlns:a16="http://schemas.microsoft.com/office/drawing/2014/main" id="{B437A70C-46A1-AFD4-6254-52ABB7688437}"/>
              </a:ext>
            </a:extLst>
          </p:cNvPr>
          <p:cNvSpPr/>
          <p:nvPr/>
        </p:nvSpPr>
        <p:spPr>
          <a:xfrm>
            <a:off x="724597" y="5043134"/>
            <a:ext cx="4297680" cy="863634"/>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25252"/>
                </a:solidFill>
                <a:effectLst/>
                <a:uLnTx/>
                <a:uFillTx/>
                <a:latin typeface="IntelOne Text" panose="020B0503020203020204" pitchFamily="34" charset="0"/>
                <a:sym typeface="Helvetica Neue"/>
              </a:rPr>
              <a:t>D</a:t>
            </a:r>
            <a:r>
              <a:rPr kumimoji="0" lang="en-US" sz="1050" b="1" i="0" u="none" strike="noStrike" kern="1200" cap="none" spc="0" normalizeH="0" baseline="0" noProof="0" err="1">
                <a:ln>
                  <a:noFill/>
                </a:ln>
                <a:solidFill>
                  <a:srgbClr val="525252"/>
                </a:solidFill>
                <a:effectLst/>
                <a:uLnTx/>
                <a:uFillTx/>
                <a:latin typeface="IntelOne Text" panose="020B0503020203020204" pitchFamily="34" charset="0"/>
                <a:sym typeface="Helvetica Neue"/>
              </a:rPr>
              <a:t>ecrease</a:t>
            </a:r>
            <a:r>
              <a:rPr kumimoji="0" lang="en-US" sz="1050" b="1" i="0" u="none" strike="noStrike" kern="1200" cap="none" spc="0" normalizeH="0" baseline="0" noProof="0">
                <a:ln>
                  <a:noFill/>
                </a:ln>
                <a:solidFill>
                  <a:srgbClr val="525252"/>
                </a:solidFill>
                <a:effectLst/>
                <a:uLnTx/>
                <a:uFillTx/>
                <a:latin typeface="IntelOne Text" panose="020B0503020203020204" pitchFamily="34" charset="0"/>
                <a:sym typeface="Helvetica Neue"/>
              </a:rPr>
              <a:t> total cost of ownership: </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Fewer incidents mean reduced involvement (and related costs) of branch staff and third-party service providers. Better maintenance also helps prolong the lifespan of devices.</a:t>
            </a:r>
          </a:p>
        </p:txBody>
      </p:sp>
      <p:pic>
        <p:nvPicPr>
          <p:cNvPr id="2" name="Picture 6" descr="dieboldnixdorf | Share Your Information">
            <a:extLst>
              <a:ext uri="{FF2B5EF4-FFF2-40B4-BE49-F238E27FC236}">
                <a16:creationId xmlns:a16="http://schemas.microsoft.com/office/drawing/2014/main" id="{6B9B6A52-733E-D4B9-2DFA-192E828DD98E}"/>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283012" y="143935"/>
            <a:ext cx="995726" cy="746794"/>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descr="Solution diagram for DN All Connect from edge to cloud.">
            <a:extLst>
              <a:ext uri="{FF2B5EF4-FFF2-40B4-BE49-F238E27FC236}">
                <a16:creationId xmlns:a16="http://schemas.microsoft.com/office/drawing/2014/main" id="{E5FDAF8A-F0EA-987E-155F-0C6F9AEBF04F}"/>
              </a:ext>
              <a:ext uri="{C183D7F6-B498-43B3-948B-1728B52AA6E4}">
                <adec:decorative xmlns:adec="http://schemas.microsoft.com/office/drawing/2017/decorative" val="0"/>
              </a:ext>
            </a:extLst>
          </p:cNvPr>
          <p:cNvGrpSpPr/>
          <p:nvPr/>
        </p:nvGrpSpPr>
        <p:grpSpPr>
          <a:xfrm>
            <a:off x="4935793" y="3418458"/>
            <a:ext cx="4499904" cy="2911506"/>
            <a:chOff x="8474368" y="1047087"/>
            <a:chExt cx="3241350" cy="2097199"/>
          </a:xfrm>
        </p:grpSpPr>
        <p:cxnSp>
          <p:nvCxnSpPr>
            <p:cNvPr id="4" name="Straight Connector 3">
              <a:extLst>
                <a:ext uri="{FF2B5EF4-FFF2-40B4-BE49-F238E27FC236}">
                  <a16:creationId xmlns:a16="http://schemas.microsoft.com/office/drawing/2014/main" id="{69DDC72C-8934-0477-8155-1250B515A781}"/>
                </a:ext>
              </a:extLst>
            </p:cNvPr>
            <p:cNvCxnSpPr>
              <a:cxnSpLocks/>
            </p:cNvCxnSpPr>
            <p:nvPr/>
          </p:nvCxnSpPr>
          <p:spPr>
            <a:xfrm>
              <a:off x="10261600" y="2630337"/>
              <a:ext cx="311150" cy="0"/>
            </a:xfrm>
            <a:prstGeom prst="line">
              <a:avLst/>
            </a:prstGeom>
            <a:noFill/>
            <a:ln w="12700" cap="flat">
              <a:solidFill>
                <a:srgbClr val="FFFFFF">
                  <a:lumMod val="65000"/>
                </a:srgbClr>
              </a:solidFill>
              <a:prstDash val="sysDash"/>
              <a:miter lim="400000"/>
              <a:headEnd type="triangle" w="med" len="sm"/>
              <a:tailEnd type="triangle" w="med" len="sm"/>
            </a:ln>
            <a:effectLst/>
            <a:sp3d/>
          </p:spPr>
        </p:cxnSp>
        <p:sp>
          <p:nvSpPr>
            <p:cNvPr id="5" name="Freeform: Shape 4">
              <a:extLst>
                <a:ext uri="{FF2B5EF4-FFF2-40B4-BE49-F238E27FC236}">
                  <a16:creationId xmlns:a16="http://schemas.microsoft.com/office/drawing/2014/main" id="{49B27BE3-AF99-3F83-F9A2-92391E08F16E}"/>
                </a:ext>
              </a:extLst>
            </p:cNvPr>
            <p:cNvSpPr/>
            <p:nvPr/>
          </p:nvSpPr>
          <p:spPr>
            <a:xfrm>
              <a:off x="10144958" y="1287770"/>
              <a:ext cx="226041" cy="553550"/>
            </a:xfrm>
            <a:custGeom>
              <a:avLst/>
              <a:gdLst>
                <a:gd name="connsiteX0" fmla="*/ 0 w 1104900"/>
                <a:gd name="connsiteY0" fmla="*/ 815340 h 815340"/>
                <a:gd name="connsiteX1" fmla="*/ 701040 w 1104900"/>
                <a:gd name="connsiteY1" fmla="*/ 815340 h 815340"/>
                <a:gd name="connsiteX2" fmla="*/ 701040 w 1104900"/>
                <a:gd name="connsiteY2" fmla="*/ 0 h 815340"/>
                <a:gd name="connsiteX3" fmla="*/ 1104900 w 1104900"/>
                <a:gd name="connsiteY3" fmla="*/ 0 h 815340"/>
                <a:gd name="connsiteX0" fmla="*/ 0 w 716405"/>
                <a:gd name="connsiteY0" fmla="*/ 816780 h 816780"/>
                <a:gd name="connsiteX1" fmla="*/ 312545 w 716405"/>
                <a:gd name="connsiteY1" fmla="*/ 815340 h 816780"/>
                <a:gd name="connsiteX2" fmla="*/ 312545 w 716405"/>
                <a:gd name="connsiteY2" fmla="*/ 0 h 816780"/>
                <a:gd name="connsiteX3" fmla="*/ 716405 w 716405"/>
                <a:gd name="connsiteY3" fmla="*/ 0 h 816780"/>
                <a:gd name="connsiteX0" fmla="*/ 0 w 713526"/>
                <a:gd name="connsiteY0" fmla="*/ 815341 h 815341"/>
                <a:gd name="connsiteX1" fmla="*/ 309666 w 713526"/>
                <a:gd name="connsiteY1" fmla="*/ 815340 h 815341"/>
                <a:gd name="connsiteX2" fmla="*/ 309666 w 713526"/>
                <a:gd name="connsiteY2" fmla="*/ 0 h 815341"/>
                <a:gd name="connsiteX3" fmla="*/ 713526 w 713526"/>
                <a:gd name="connsiteY3" fmla="*/ 0 h 815341"/>
              </a:gdLst>
              <a:ahLst/>
              <a:cxnLst>
                <a:cxn ang="0">
                  <a:pos x="connsiteX0" y="connsiteY0"/>
                </a:cxn>
                <a:cxn ang="0">
                  <a:pos x="connsiteX1" y="connsiteY1"/>
                </a:cxn>
                <a:cxn ang="0">
                  <a:pos x="connsiteX2" y="connsiteY2"/>
                </a:cxn>
                <a:cxn ang="0">
                  <a:pos x="connsiteX3" y="connsiteY3"/>
                </a:cxn>
              </a:cxnLst>
              <a:rect l="l" t="t" r="r" b="b"/>
              <a:pathLst>
                <a:path w="713526" h="815341">
                  <a:moveTo>
                    <a:pt x="0" y="815341"/>
                  </a:moveTo>
                  <a:lnTo>
                    <a:pt x="309666" y="815340"/>
                  </a:lnTo>
                  <a:lnTo>
                    <a:pt x="309666" y="0"/>
                  </a:lnTo>
                  <a:lnTo>
                    <a:pt x="713526" y="0"/>
                  </a:lnTo>
                </a:path>
              </a:pathLst>
            </a:custGeom>
            <a:noFill/>
            <a:ln w="12700" cap="flat">
              <a:solidFill>
                <a:srgbClr val="FFFFFF">
                  <a:lumMod val="65000"/>
                </a:srgbClr>
              </a:solidFill>
              <a:miter lim="400000"/>
              <a:tailEnd type="triangle" w="med" len="sm"/>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FFFFFF"/>
                </a:solidFill>
                <a:effectLst/>
                <a:uLnTx/>
                <a:uFillTx/>
                <a:latin typeface="Helvetica Neue Medium"/>
                <a:sym typeface="Helvetica Neue"/>
              </a:endParaRPr>
            </a:p>
          </p:txBody>
        </p:sp>
        <p:sp>
          <p:nvSpPr>
            <p:cNvPr id="6" name="TextBox 5">
              <a:extLst>
                <a:ext uri="{FF2B5EF4-FFF2-40B4-BE49-F238E27FC236}">
                  <a16:creationId xmlns:a16="http://schemas.microsoft.com/office/drawing/2014/main" id="{12F2E2C2-518B-AE1A-7099-D45D7D2171F2}"/>
                </a:ext>
              </a:extLst>
            </p:cNvPr>
            <p:cNvSpPr txBox="1"/>
            <p:nvPr/>
          </p:nvSpPr>
          <p:spPr>
            <a:xfrm>
              <a:off x="9293115" y="1047087"/>
              <a:ext cx="1033428" cy="116391"/>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nchorCtr="0">
              <a:spAutoFit/>
            </a:bodyPr>
            <a:lstStyle/>
            <a:p>
              <a:pPr marL="0" marR="0" lvl="0" indent="0" algn="l" defTabSz="2438338" rtl="0" eaLnBrk="1" fontAlgn="auto" latinLnBrk="0" hangingPunct="1">
                <a:lnSpc>
                  <a:spcPct val="100000"/>
                </a:lnSpc>
                <a:spcBef>
                  <a:spcPts val="0"/>
                </a:spcBef>
                <a:spcAft>
                  <a:spcPts val="0"/>
                </a:spcAft>
                <a:buClrTx/>
                <a:buSzTx/>
                <a:buFontTx/>
                <a:buNone/>
                <a:tabLst/>
                <a:defRPr/>
              </a:pPr>
              <a:r>
                <a:rPr kumimoji="0" lang="en-IN" sz="1050" b="0" i="0" u="none" strike="noStrike" kern="0" cap="none" spc="0" normalizeH="0" baseline="0" noProof="0">
                  <a:ln>
                    <a:noFill/>
                  </a:ln>
                  <a:solidFill>
                    <a:srgbClr val="41728A"/>
                  </a:solidFill>
                  <a:effectLst/>
                  <a:uLnTx/>
                  <a:uFillTx/>
                  <a:latin typeface="IntelOne Display Medium" panose="020B0703020203020204" pitchFamily="34" charset="0"/>
                  <a:sym typeface="Helvetica Neue"/>
                </a:rPr>
                <a:t>High Level Architecture</a:t>
              </a:r>
            </a:p>
          </p:txBody>
        </p:sp>
        <p:sp>
          <p:nvSpPr>
            <p:cNvPr id="7" name="TextBox 6">
              <a:extLst>
                <a:ext uri="{FF2B5EF4-FFF2-40B4-BE49-F238E27FC236}">
                  <a16:creationId xmlns:a16="http://schemas.microsoft.com/office/drawing/2014/main" id="{5D6E5A03-530C-2D9C-B269-119B25D37D97}"/>
                </a:ext>
              </a:extLst>
            </p:cNvPr>
            <p:cNvSpPr txBox="1"/>
            <p:nvPr/>
          </p:nvSpPr>
          <p:spPr>
            <a:xfrm>
              <a:off x="8837001" y="1303039"/>
              <a:ext cx="579522" cy="19952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Text"/>
                  <a:sym typeface="Helvetica Neue"/>
                </a:rPr>
                <a:t>Monitoring System</a:t>
              </a:r>
            </a:p>
          </p:txBody>
        </p:sp>
        <p:sp>
          <p:nvSpPr>
            <p:cNvPr id="8" name="TextBox 7">
              <a:extLst>
                <a:ext uri="{FF2B5EF4-FFF2-40B4-BE49-F238E27FC236}">
                  <a16:creationId xmlns:a16="http://schemas.microsoft.com/office/drawing/2014/main" id="{90697749-1B70-4E0C-08BF-D38B8E6E149A}"/>
                </a:ext>
              </a:extLst>
            </p:cNvPr>
            <p:cNvSpPr txBox="1"/>
            <p:nvPr/>
          </p:nvSpPr>
          <p:spPr>
            <a:xfrm>
              <a:off x="9275559" y="1220108"/>
              <a:ext cx="1041254" cy="215444"/>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700" b="0" i="0" u="none" strike="noStrike" kern="0" cap="none" spc="0" normalizeH="0" baseline="0" noProof="0">
                  <a:ln>
                    <a:noFill/>
                  </a:ln>
                  <a:solidFill>
                    <a:srgbClr val="525252"/>
                  </a:solidFill>
                  <a:effectLst/>
                  <a:uLnTx/>
                  <a:uFillTx/>
                  <a:latin typeface="IntelOne Text"/>
                  <a:sym typeface="Helvetica Neue"/>
                </a:rPr>
                <a:t>Traditional Status Monitoring</a:t>
              </a:r>
              <a:r>
                <a:rPr kumimoji="0" lang="en-IN" sz="700" b="0" i="0" u="none" strike="noStrike" kern="0" cap="none" spc="0" normalizeH="0" baseline="30000" noProof="0">
                  <a:ln>
                    <a:noFill/>
                  </a:ln>
                  <a:solidFill>
                    <a:srgbClr val="525252"/>
                  </a:solidFill>
                  <a:effectLst/>
                  <a:uLnTx/>
                  <a:uFillTx/>
                  <a:latin typeface="IntelOne Text"/>
                  <a:sym typeface="Helvetica Neue"/>
                </a:rPr>
                <a:t>1</a:t>
              </a:r>
            </a:p>
          </p:txBody>
        </p:sp>
        <p:sp>
          <p:nvSpPr>
            <p:cNvPr id="9" name="TextBox 8">
              <a:extLst>
                <a:ext uri="{FF2B5EF4-FFF2-40B4-BE49-F238E27FC236}">
                  <a16:creationId xmlns:a16="http://schemas.microsoft.com/office/drawing/2014/main" id="{498DE346-E5DD-7BFA-06AB-A8C95E97614D}"/>
                </a:ext>
              </a:extLst>
            </p:cNvPr>
            <p:cNvSpPr txBox="1"/>
            <p:nvPr/>
          </p:nvSpPr>
          <p:spPr>
            <a:xfrm>
              <a:off x="10381870" y="1141415"/>
              <a:ext cx="504664" cy="99763"/>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Text"/>
                  <a:sym typeface="Helvetica Neue"/>
                </a:rPr>
                <a:t>DN Service</a:t>
              </a:r>
              <a:endParaRPr kumimoji="0" lang="en-IN" sz="900" b="0" i="0" u="none" strike="noStrike" kern="0" cap="none" spc="0" normalizeH="0" baseline="30000" noProof="0">
                <a:ln>
                  <a:noFill/>
                </a:ln>
                <a:solidFill>
                  <a:srgbClr val="525252"/>
                </a:solidFill>
                <a:effectLst/>
                <a:uLnTx/>
                <a:uFillTx/>
                <a:latin typeface="IntelOne Text"/>
                <a:sym typeface="Helvetica Neue"/>
              </a:endParaRPr>
            </a:p>
          </p:txBody>
        </p:sp>
        <p:sp>
          <p:nvSpPr>
            <p:cNvPr id="10" name="TextBox 9">
              <a:extLst>
                <a:ext uri="{FF2B5EF4-FFF2-40B4-BE49-F238E27FC236}">
                  <a16:creationId xmlns:a16="http://schemas.microsoft.com/office/drawing/2014/main" id="{95725496-2FEF-D403-DAE4-15EAEEA29A52}"/>
                </a:ext>
              </a:extLst>
            </p:cNvPr>
            <p:cNvSpPr txBox="1"/>
            <p:nvPr/>
          </p:nvSpPr>
          <p:spPr>
            <a:xfrm>
              <a:off x="10367928" y="1237605"/>
              <a:ext cx="532549" cy="99763"/>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Text"/>
                  <a:sym typeface="Helvetica Neue"/>
                </a:rPr>
                <a:t>Call System</a:t>
              </a:r>
              <a:endParaRPr kumimoji="0" lang="en-IN" sz="900" b="0" i="0" u="none" strike="noStrike" kern="0" cap="none" spc="0" normalizeH="0" baseline="30000" noProof="0">
                <a:ln>
                  <a:noFill/>
                </a:ln>
                <a:solidFill>
                  <a:srgbClr val="525252"/>
                </a:solidFill>
                <a:effectLst/>
                <a:uLnTx/>
                <a:uFillTx/>
                <a:latin typeface="IntelOne Text"/>
                <a:sym typeface="Helvetica Neue"/>
              </a:endParaRPr>
            </a:p>
          </p:txBody>
        </p:sp>
        <p:sp>
          <p:nvSpPr>
            <p:cNvPr id="11" name="TextBox 10">
              <a:extLst>
                <a:ext uri="{FF2B5EF4-FFF2-40B4-BE49-F238E27FC236}">
                  <a16:creationId xmlns:a16="http://schemas.microsoft.com/office/drawing/2014/main" id="{AD80C5D1-8066-7F92-A5F0-4BD95693B719}"/>
                </a:ext>
              </a:extLst>
            </p:cNvPr>
            <p:cNvSpPr txBox="1"/>
            <p:nvPr/>
          </p:nvSpPr>
          <p:spPr>
            <a:xfrm>
              <a:off x="9052442" y="1714029"/>
              <a:ext cx="483492" cy="19952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Text"/>
                  <a:sym typeface="Helvetica Neue"/>
                </a:rPr>
                <a:t>DN Service Network</a:t>
              </a:r>
              <a:endParaRPr kumimoji="0" lang="en-IN" sz="900" b="0" i="0" u="none" strike="noStrike" kern="0" cap="none" spc="0" normalizeH="0" baseline="30000" noProof="0">
                <a:ln>
                  <a:noFill/>
                </a:ln>
                <a:solidFill>
                  <a:srgbClr val="525252"/>
                </a:solidFill>
                <a:effectLst/>
                <a:uLnTx/>
                <a:uFillTx/>
                <a:latin typeface="IntelOne Text"/>
                <a:sym typeface="Helvetica Neue"/>
              </a:endParaRPr>
            </a:p>
          </p:txBody>
        </p:sp>
        <p:sp>
          <p:nvSpPr>
            <p:cNvPr id="12" name="Rectangle 26">
              <a:extLst>
                <a:ext uri="{FF2B5EF4-FFF2-40B4-BE49-F238E27FC236}">
                  <a16:creationId xmlns:a16="http://schemas.microsoft.com/office/drawing/2014/main" id="{C3BED152-D19C-17F2-84CD-4864E0E9B7EF}"/>
                </a:ext>
              </a:extLst>
            </p:cNvPr>
            <p:cNvSpPr/>
            <p:nvPr/>
          </p:nvSpPr>
          <p:spPr>
            <a:xfrm>
              <a:off x="8670132" y="1180933"/>
              <a:ext cx="319182" cy="261164"/>
            </a:xfrm>
            <a:custGeom>
              <a:avLst/>
              <a:gdLst>
                <a:gd name="connsiteX0" fmla="*/ 0 w 967105"/>
                <a:gd name="connsiteY0" fmla="*/ 0 h 540206"/>
                <a:gd name="connsiteX1" fmla="*/ 967105 w 967105"/>
                <a:gd name="connsiteY1" fmla="*/ 0 h 540206"/>
                <a:gd name="connsiteX2" fmla="*/ 967105 w 967105"/>
                <a:gd name="connsiteY2" fmla="*/ 540206 h 540206"/>
                <a:gd name="connsiteX3" fmla="*/ 0 w 967105"/>
                <a:gd name="connsiteY3" fmla="*/ 540206 h 540206"/>
                <a:gd name="connsiteX4" fmla="*/ 0 w 967105"/>
                <a:gd name="connsiteY4" fmla="*/ 0 h 540206"/>
                <a:gd name="connsiteX0" fmla="*/ 967105 w 1058545"/>
                <a:gd name="connsiteY0" fmla="*/ 540206 h 631646"/>
                <a:gd name="connsiteX1" fmla="*/ 0 w 1058545"/>
                <a:gd name="connsiteY1" fmla="*/ 540206 h 631646"/>
                <a:gd name="connsiteX2" fmla="*/ 0 w 1058545"/>
                <a:gd name="connsiteY2" fmla="*/ 0 h 631646"/>
                <a:gd name="connsiteX3" fmla="*/ 967105 w 1058545"/>
                <a:gd name="connsiteY3" fmla="*/ 0 h 631646"/>
                <a:gd name="connsiteX4" fmla="*/ 1058545 w 1058545"/>
                <a:gd name="connsiteY4" fmla="*/ 631646 h 631646"/>
                <a:gd name="connsiteX0" fmla="*/ 967105 w 967105"/>
                <a:gd name="connsiteY0" fmla="*/ 540206 h 540206"/>
                <a:gd name="connsiteX1" fmla="*/ 0 w 967105"/>
                <a:gd name="connsiteY1" fmla="*/ 540206 h 540206"/>
                <a:gd name="connsiteX2" fmla="*/ 0 w 967105"/>
                <a:gd name="connsiteY2" fmla="*/ 0 h 540206"/>
                <a:gd name="connsiteX3" fmla="*/ 967105 w 967105"/>
                <a:gd name="connsiteY3" fmla="*/ 0 h 540206"/>
                <a:gd name="connsiteX0" fmla="*/ 0 w 967105"/>
                <a:gd name="connsiteY0" fmla="*/ 540206 h 540206"/>
                <a:gd name="connsiteX1" fmla="*/ 0 w 967105"/>
                <a:gd name="connsiteY1" fmla="*/ 0 h 540206"/>
                <a:gd name="connsiteX2" fmla="*/ 967105 w 967105"/>
                <a:gd name="connsiteY2" fmla="*/ 0 h 540206"/>
              </a:gdLst>
              <a:ahLst/>
              <a:cxnLst>
                <a:cxn ang="0">
                  <a:pos x="connsiteX0" y="connsiteY0"/>
                </a:cxn>
                <a:cxn ang="0">
                  <a:pos x="connsiteX1" y="connsiteY1"/>
                </a:cxn>
                <a:cxn ang="0">
                  <a:pos x="connsiteX2" y="connsiteY2"/>
                </a:cxn>
              </a:cxnLst>
              <a:rect l="l" t="t" r="r" b="b"/>
              <a:pathLst>
                <a:path w="967105" h="540206">
                  <a:moveTo>
                    <a:pt x="0" y="540206"/>
                  </a:moveTo>
                  <a:lnTo>
                    <a:pt x="0" y="0"/>
                  </a:lnTo>
                  <a:lnTo>
                    <a:pt x="967105" y="0"/>
                  </a:lnTo>
                </a:path>
              </a:pathLst>
            </a:custGeom>
            <a:noFill/>
            <a:ln w="12700" cap="flat">
              <a:solidFill>
                <a:srgbClr val="FFFFFF">
                  <a:lumMod val="65000"/>
                </a:srgbClr>
              </a:solidFill>
              <a:miter lim="400000"/>
              <a:tailEnd type="triangle" w="med" len="sm"/>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3" name="Rectangle 26">
              <a:extLst>
                <a:ext uri="{FF2B5EF4-FFF2-40B4-BE49-F238E27FC236}">
                  <a16:creationId xmlns:a16="http://schemas.microsoft.com/office/drawing/2014/main" id="{F5913342-AA86-D3ED-D281-0AF0F09831C6}"/>
                </a:ext>
              </a:extLst>
            </p:cNvPr>
            <p:cNvSpPr/>
            <p:nvPr/>
          </p:nvSpPr>
          <p:spPr>
            <a:xfrm flipV="1">
              <a:off x="8690759" y="1931078"/>
              <a:ext cx="193357" cy="499378"/>
            </a:xfrm>
            <a:custGeom>
              <a:avLst/>
              <a:gdLst>
                <a:gd name="connsiteX0" fmla="*/ 0 w 967105"/>
                <a:gd name="connsiteY0" fmla="*/ 0 h 540206"/>
                <a:gd name="connsiteX1" fmla="*/ 967105 w 967105"/>
                <a:gd name="connsiteY1" fmla="*/ 0 h 540206"/>
                <a:gd name="connsiteX2" fmla="*/ 967105 w 967105"/>
                <a:gd name="connsiteY2" fmla="*/ 540206 h 540206"/>
                <a:gd name="connsiteX3" fmla="*/ 0 w 967105"/>
                <a:gd name="connsiteY3" fmla="*/ 540206 h 540206"/>
                <a:gd name="connsiteX4" fmla="*/ 0 w 967105"/>
                <a:gd name="connsiteY4" fmla="*/ 0 h 540206"/>
                <a:gd name="connsiteX0" fmla="*/ 967105 w 1058545"/>
                <a:gd name="connsiteY0" fmla="*/ 540206 h 631646"/>
                <a:gd name="connsiteX1" fmla="*/ 0 w 1058545"/>
                <a:gd name="connsiteY1" fmla="*/ 540206 h 631646"/>
                <a:gd name="connsiteX2" fmla="*/ 0 w 1058545"/>
                <a:gd name="connsiteY2" fmla="*/ 0 h 631646"/>
                <a:gd name="connsiteX3" fmla="*/ 967105 w 1058545"/>
                <a:gd name="connsiteY3" fmla="*/ 0 h 631646"/>
                <a:gd name="connsiteX4" fmla="*/ 1058545 w 1058545"/>
                <a:gd name="connsiteY4" fmla="*/ 631646 h 631646"/>
                <a:gd name="connsiteX0" fmla="*/ 967105 w 967105"/>
                <a:gd name="connsiteY0" fmla="*/ 540206 h 540206"/>
                <a:gd name="connsiteX1" fmla="*/ 0 w 967105"/>
                <a:gd name="connsiteY1" fmla="*/ 540206 h 540206"/>
                <a:gd name="connsiteX2" fmla="*/ 0 w 967105"/>
                <a:gd name="connsiteY2" fmla="*/ 0 h 540206"/>
                <a:gd name="connsiteX3" fmla="*/ 967105 w 967105"/>
                <a:gd name="connsiteY3" fmla="*/ 0 h 540206"/>
                <a:gd name="connsiteX0" fmla="*/ 0 w 967105"/>
                <a:gd name="connsiteY0" fmla="*/ 540206 h 540206"/>
                <a:gd name="connsiteX1" fmla="*/ 0 w 967105"/>
                <a:gd name="connsiteY1" fmla="*/ 0 h 540206"/>
                <a:gd name="connsiteX2" fmla="*/ 967105 w 967105"/>
                <a:gd name="connsiteY2" fmla="*/ 0 h 540206"/>
              </a:gdLst>
              <a:ahLst/>
              <a:cxnLst>
                <a:cxn ang="0">
                  <a:pos x="connsiteX0" y="connsiteY0"/>
                </a:cxn>
                <a:cxn ang="0">
                  <a:pos x="connsiteX1" y="connsiteY1"/>
                </a:cxn>
                <a:cxn ang="0">
                  <a:pos x="connsiteX2" y="connsiteY2"/>
                </a:cxn>
              </a:cxnLst>
              <a:rect l="l" t="t" r="r" b="b"/>
              <a:pathLst>
                <a:path w="967105" h="540206">
                  <a:moveTo>
                    <a:pt x="0" y="540206"/>
                  </a:moveTo>
                  <a:lnTo>
                    <a:pt x="0" y="0"/>
                  </a:lnTo>
                  <a:lnTo>
                    <a:pt x="967105" y="0"/>
                  </a:lnTo>
                </a:path>
              </a:pathLst>
            </a:custGeom>
            <a:noFill/>
            <a:ln w="12700" cap="flat">
              <a:solidFill>
                <a:srgbClr val="FFFFFF">
                  <a:lumMod val="65000"/>
                </a:srgbClr>
              </a:solidFill>
              <a:miter lim="400000"/>
              <a:tailEnd type="triangle" w="med" len="sm"/>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4" name="Rectangle 26">
              <a:extLst>
                <a:ext uri="{FF2B5EF4-FFF2-40B4-BE49-F238E27FC236}">
                  <a16:creationId xmlns:a16="http://schemas.microsoft.com/office/drawing/2014/main" id="{0B5F4FDB-241F-C16B-61AB-E86FF1BDA860}"/>
                </a:ext>
              </a:extLst>
            </p:cNvPr>
            <p:cNvSpPr/>
            <p:nvPr/>
          </p:nvSpPr>
          <p:spPr>
            <a:xfrm rot="16200000" flipV="1">
              <a:off x="8966769" y="2108239"/>
              <a:ext cx="491437" cy="152992"/>
            </a:xfrm>
            <a:custGeom>
              <a:avLst/>
              <a:gdLst>
                <a:gd name="connsiteX0" fmla="*/ 0 w 967105"/>
                <a:gd name="connsiteY0" fmla="*/ 0 h 540206"/>
                <a:gd name="connsiteX1" fmla="*/ 967105 w 967105"/>
                <a:gd name="connsiteY1" fmla="*/ 0 h 540206"/>
                <a:gd name="connsiteX2" fmla="*/ 967105 w 967105"/>
                <a:gd name="connsiteY2" fmla="*/ 540206 h 540206"/>
                <a:gd name="connsiteX3" fmla="*/ 0 w 967105"/>
                <a:gd name="connsiteY3" fmla="*/ 540206 h 540206"/>
                <a:gd name="connsiteX4" fmla="*/ 0 w 967105"/>
                <a:gd name="connsiteY4" fmla="*/ 0 h 540206"/>
                <a:gd name="connsiteX0" fmla="*/ 967105 w 1058545"/>
                <a:gd name="connsiteY0" fmla="*/ 540206 h 631646"/>
                <a:gd name="connsiteX1" fmla="*/ 0 w 1058545"/>
                <a:gd name="connsiteY1" fmla="*/ 540206 h 631646"/>
                <a:gd name="connsiteX2" fmla="*/ 0 w 1058545"/>
                <a:gd name="connsiteY2" fmla="*/ 0 h 631646"/>
                <a:gd name="connsiteX3" fmla="*/ 967105 w 1058545"/>
                <a:gd name="connsiteY3" fmla="*/ 0 h 631646"/>
                <a:gd name="connsiteX4" fmla="*/ 1058545 w 1058545"/>
                <a:gd name="connsiteY4" fmla="*/ 631646 h 631646"/>
                <a:gd name="connsiteX0" fmla="*/ 967105 w 967105"/>
                <a:gd name="connsiteY0" fmla="*/ 540206 h 540206"/>
                <a:gd name="connsiteX1" fmla="*/ 0 w 967105"/>
                <a:gd name="connsiteY1" fmla="*/ 540206 h 540206"/>
                <a:gd name="connsiteX2" fmla="*/ 0 w 967105"/>
                <a:gd name="connsiteY2" fmla="*/ 0 h 540206"/>
                <a:gd name="connsiteX3" fmla="*/ 967105 w 967105"/>
                <a:gd name="connsiteY3" fmla="*/ 0 h 540206"/>
                <a:gd name="connsiteX0" fmla="*/ 0 w 967105"/>
                <a:gd name="connsiteY0" fmla="*/ 540206 h 540206"/>
                <a:gd name="connsiteX1" fmla="*/ 0 w 967105"/>
                <a:gd name="connsiteY1" fmla="*/ 0 h 540206"/>
                <a:gd name="connsiteX2" fmla="*/ 967105 w 967105"/>
                <a:gd name="connsiteY2" fmla="*/ 0 h 540206"/>
              </a:gdLst>
              <a:ahLst/>
              <a:cxnLst>
                <a:cxn ang="0">
                  <a:pos x="connsiteX0" y="connsiteY0"/>
                </a:cxn>
                <a:cxn ang="0">
                  <a:pos x="connsiteX1" y="connsiteY1"/>
                </a:cxn>
                <a:cxn ang="0">
                  <a:pos x="connsiteX2" y="connsiteY2"/>
                </a:cxn>
              </a:cxnLst>
              <a:rect l="l" t="t" r="r" b="b"/>
              <a:pathLst>
                <a:path w="967105" h="540206">
                  <a:moveTo>
                    <a:pt x="0" y="540206"/>
                  </a:moveTo>
                  <a:lnTo>
                    <a:pt x="0" y="0"/>
                  </a:lnTo>
                  <a:lnTo>
                    <a:pt x="967105" y="0"/>
                  </a:lnTo>
                </a:path>
              </a:pathLst>
            </a:custGeom>
            <a:noFill/>
            <a:ln w="12700" cap="flat">
              <a:solidFill>
                <a:srgbClr val="FFFFFF">
                  <a:lumMod val="65000"/>
                </a:srgbClr>
              </a:solidFill>
              <a:miter lim="400000"/>
              <a:tailEnd type="triangle" w="med" len="sm"/>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cxnSp>
          <p:nvCxnSpPr>
            <p:cNvPr id="15" name="Straight Connector 14">
              <a:extLst>
                <a:ext uri="{FF2B5EF4-FFF2-40B4-BE49-F238E27FC236}">
                  <a16:creationId xmlns:a16="http://schemas.microsoft.com/office/drawing/2014/main" id="{69484BC8-BA4E-84E6-F325-A193A936896B}"/>
                </a:ext>
              </a:extLst>
            </p:cNvPr>
            <p:cNvCxnSpPr>
              <a:cxnSpLocks/>
            </p:cNvCxnSpPr>
            <p:nvPr/>
          </p:nvCxnSpPr>
          <p:spPr>
            <a:xfrm>
              <a:off x="9519693" y="1844191"/>
              <a:ext cx="187628" cy="0"/>
            </a:xfrm>
            <a:prstGeom prst="line">
              <a:avLst/>
            </a:prstGeom>
            <a:noFill/>
            <a:ln w="12700" cap="flat">
              <a:solidFill>
                <a:srgbClr val="FFFFFF">
                  <a:lumMod val="65000"/>
                </a:srgbClr>
              </a:solidFill>
              <a:miter lim="400000"/>
              <a:tailEnd type="triangle" w="med" len="sm"/>
            </a:ln>
            <a:effectLst/>
            <a:sp3d/>
          </p:spPr>
        </p:cxnSp>
        <p:cxnSp>
          <p:nvCxnSpPr>
            <p:cNvPr id="16" name="Straight Connector 15">
              <a:extLst>
                <a:ext uri="{FF2B5EF4-FFF2-40B4-BE49-F238E27FC236}">
                  <a16:creationId xmlns:a16="http://schemas.microsoft.com/office/drawing/2014/main" id="{90511296-CEE7-B8EA-6F95-07B384E28230}"/>
                </a:ext>
              </a:extLst>
            </p:cNvPr>
            <p:cNvCxnSpPr>
              <a:cxnSpLocks/>
            </p:cNvCxnSpPr>
            <p:nvPr/>
          </p:nvCxnSpPr>
          <p:spPr>
            <a:xfrm>
              <a:off x="9289335" y="1196935"/>
              <a:ext cx="1081664" cy="0"/>
            </a:xfrm>
            <a:prstGeom prst="line">
              <a:avLst/>
            </a:prstGeom>
            <a:noFill/>
            <a:ln w="22225" cap="flat">
              <a:gradFill>
                <a:gsLst>
                  <a:gs pos="28000">
                    <a:srgbClr val="A6C6D6"/>
                  </a:gs>
                  <a:gs pos="100000">
                    <a:srgbClr val="41728A"/>
                  </a:gs>
                </a:gsLst>
                <a:lin ang="0" scaled="0"/>
              </a:gradFill>
              <a:miter lim="400000"/>
              <a:tailEnd type="triangle" w="med" len="sm"/>
            </a:ln>
            <a:effectLst/>
            <a:sp3d/>
          </p:spPr>
        </p:cxnSp>
        <p:sp>
          <p:nvSpPr>
            <p:cNvPr id="17" name="Rectangle 40">
              <a:extLst>
                <a:ext uri="{FF2B5EF4-FFF2-40B4-BE49-F238E27FC236}">
                  <a16:creationId xmlns:a16="http://schemas.microsoft.com/office/drawing/2014/main" id="{3676F495-B551-9787-41AC-00C689C321D5}"/>
                </a:ext>
              </a:extLst>
            </p:cNvPr>
            <p:cNvSpPr/>
            <p:nvPr/>
          </p:nvSpPr>
          <p:spPr>
            <a:xfrm>
              <a:off x="9551721" y="2406825"/>
              <a:ext cx="563533" cy="149766"/>
            </a:xfrm>
            <a:custGeom>
              <a:avLst/>
              <a:gdLst>
                <a:gd name="connsiteX0" fmla="*/ 0 w 2035493"/>
                <a:gd name="connsiteY0" fmla="*/ 0 h 274319"/>
                <a:gd name="connsiteX1" fmla="*/ 2035493 w 2035493"/>
                <a:gd name="connsiteY1" fmla="*/ 0 h 274319"/>
                <a:gd name="connsiteX2" fmla="*/ 2035493 w 2035493"/>
                <a:gd name="connsiteY2" fmla="*/ 274319 h 274319"/>
                <a:gd name="connsiteX3" fmla="*/ 0 w 2035493"/>
                <a:gd name="connsiteY3" fmla="*/ 274319 h 274319"/>
                <a:gd name="connsiteX4" fmla="*/ 0 w 2035493"/>
                <a:gd name="connsiteY4" fmla="*/ 0 h 274319"/>
                <a:gd name="connsiteX0" fmla="*/ 0 w 2035493"/>
                <a:gd name="connsiteY0" fmla="*/ 0 h 274319"/>
                <a:gd name="connsiteX1" fmla="*/ 2035493 w 2035493"/>
                <a:gd name="connsiteY1" fmla="*/ 0 h 274319"/>
                <a:gd name="connsiteX2" fmla="*/ 2035493 w 2035493"/>
                <a:gd name="connsiteY2" fmla="*/ 274319 h 274319"/>
                <a:gd name="connsiteX3" fmla="*/ 1044893 w 2035493"/>
                <a:gd name="connsiteY3" fmla="*/ 266699 h 274319"/>
                <a:gd name="connsiteX4" fmla="*/ 0 w 2035493"/>
                <a:gd name="connsiteY4" fmla="*/ 274319 h 274319"/>
                <a:gd name="connsiteX5" fmla="*/ 0 w 2035493"/>
                <a:gd name="connsiteY5" fmla="*/ 0 h 274319"/>
                <a:gd name="connsiteX0" fmla="*/ 1044893 w 2035493"/>
                <a:gd name="connsiteY0" fmla="*/ 266699 h 358139"/>
                <a:gd name="connsiteX1" fmla="*/ 0 w 2035493"/>
                <a:gd name="connsiteY1" fmla="*/ 274319 h 358139"/>
                <a:gd name="connsiteX2" fmla="*/ 0 w 2035493"/>
                <a:gd name="connsiteY2" fmla="*/ 0 h 358139"/>
                <a:gd name="connsiteX3" fmla="*/ 2035493 w 2035493"/>
                <a:gd name="connsiteY3" fmla="*/ 0 h 358139"/>
                <a:gd name="connsiteX4" fmla="*/ 2035493 w 2035493"/>
                <a:gd name="connsiteY4" fmla="*/ 274319 h 358139"/>
                <a:gd name="connsiteX5" fmla="*/ 1136333 w 2035493"/>
                <a:gd name="connsiteY5" fmla="*/ 358139 h 358139"/>
                <a:gd name="connsiteX0" fmla="*/ 1044893 w 2035493"/>
                <a:gd name="connsiteY0" fmla="*/ 266699 h 274319"/>
                <a:gd name="connsiteX1" fmla="*/ 0 w 2035493"/>
                <a:gd name="connsiteY1" fmla="*/ 274319 h 274319"/>
                <a:gd name="connsiteX2" fmla="*/ 0 w 2035493"/>
                <a:gd name="connsiteY2" fmla="*/ 0 h 274319"/>
                <a:gd name="connsiteX3" fmla="*/ 2035493 w 2035493"/>
                <a:gd name="connsiteY3" fmla="*/ 0 h 274319"/>
                <a:gd name="connsiteX4" fmla="*/ 2035493 w 2035493"/>
                <a:gd name="connsiteY4" fmla="*/ 274319 h 274319"/>
                <a:gd name="connsiteX0" fmla="*/ 0 w 2035493"/>
                <a:gd name="connsiteY0" fmla="*/ 274319 h 274319"/>
                <a:gd name="connsiteX1" fmla="*/ 0 w 2035493"/>
                <a:gd name="connsiteY1" fmla="*/ 0 h 274319"/>
                <a:gd name="connsiteX2" fmla="*/ 2035493 w 2035493"/>
                <a:gd name="connsiteY2" fmla="*/ 0 h 274319"/>
                <a:gd name="connsiteX3" fmla="*/ 2035493 w 2035493"/>
                <a:gd name="connsiteY3" fmla="*/ 274319 h 274319"/>
              </a:gdLst>
              <a:ahLst/>
              <a:cxnLst>
                <a:cxn ang="0">
                  <a:pos x="connsiteX0" y="connsiteY0"/>
                </a:cxn>
                <a:cxn ang="0">
                  <a:pos x="connsiteX1" y="connsiteY1"/>
                </a:cxn>
                <a:cxn ang="0">
                  <a:pos x="connsiteX2" y="connsiteY2"/>
                </a:cxn>
                <a:cxn ang="0">
                  <a:pos x="connsiteX3" y="connsiteY3"/>
                </a:cxn>
              </a:cxnLst>
              <a:rect l="l" t="t" r="r" b="b"/>
              <a:pathLst>
                <a:path w="2035493" h="274319">
                  <a:moveTo>
                    <a:pt x="0" y="274319"/>
                  </a:moveTo>
                  <a:lnTo>
                    <a:pt x="0" y="0"/>
                  </a:lnTo>
                  <a:lnTo>
                    <a:pt x="2035493" y="0"/>
                  </a:lnTo>
                  <a:lnTo>
                    <a:pt x="2035493" y="274319"/>
                  </a:lnTo>
                </a:path>
              </a:pathLst>
            </a:custGeom>
            <a:noFill/>
            <a:ln w="12700" cap="flat">
              <a:solidFill>
                <a:srgbClr val="FFFFFF">
                  <a:lumMod val="65000"/>
                </a:srgbClr>
              </a:solidFill>
              <a:prstDash val="sysDash"/>
              <a:miter lim="400000"/>
              <a:headEnd type="triangle" w="med" len="sm"/>
              <a:tailEnd type="triangle" w="med" len="sm"/>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cxnSp>
          <p:nvCxnSpPr>
            <p:cNvPr id="18" name="Straight Arrow Connector 17">
              <a:extLst>
                <a:ext uri="{FF2B5EF4-FFF2-40B4-BE49-F238E27FC236}">
                  <a16:creationId xmlns:a16="http://schemas.microsoft.com/office/drawing/2014/main" id="{0080E958-F789-FBD3-FD50-24FD05493BFE}"/>
                </a:ext>
              </a:extLst>
            </p:cNvPr>
            <p:cNvCxnSpPr>
              <a:cxnSpLocks/>
            </p:cNvCxnSpPr>
            <p:nvPr/>
          </p:nvCxnSpPr>
          <p:spPr>
            <a:xfrm flipV="1">
              <a:off x="9841179" y="2225861"/>
              <a:ext cx="0" cy="173669"/>
            </a:xfrm>
            <a:prstGeom prst="straightConnector1">
              <a:avLst/>
            </a:prstGeom>
            <a:noFill/>
            <a:ln w="12700" cap="flat">
              <a:solidFill>
                <a:srgbClr val="FFFFFF">
                  <a:lumMod val="65000"/>
                </a:srgbClr>
              </a:solidFill>
              <a:prstDash val="sysDash"/>
              <a:miter lim="400000"/>
              <a:headEnd type="none" w="lg" len="med"/>
              <a:tailEnd type="triangle" w="med" len="sm"/>
            </a:ln>
            <a:effectLst/>
            <a:sp3d/>
          </p:spPr>
        </p:cxnSp>
        <p:sp>
          <p:nvSpPr>
            <p:cNvPr id="19" name="TextBox 18">
              <a:extLst>
                <a:ext uri="{FF2B5EF4-FFF2-40B4-BE49-F238E27FC236}">
                  <a16:creationId xmlns:a16="http://schemas.microsoft.com/office/drawing/2014/main" id="{17823169-915A-2D54-A59A-BC108FB6DA22}"/>
                </a:ext>
              </a:extLst>
            </p:cNvPr>
            <p:cNvSpPr txBox="1"/>
            <p:nvPr/>
          </p:nvSpPr>
          <p:spPr>
            <a:xfrm>
              <a:off x="9497755" y="2024332"/>
              <a:ext cx="962046" cy="116391"/>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1050" b="0" i="0" u="none" strike="noStrike" kern="0" cap="none" spc="0" normalizeH="0" baseline="0" noProof="0">
                  <a:ln>
                    <a:noFill/>
                  </a:ln>
                  <a:solidFill>
                    <a:srgbClr val="525252"/>
                  </a:solidFill>
                  <a:effectLst/>
                  <a:uLnTx/>
                  <a:uFillTx/>
                  <a:latin typeface="IntelOne Display Medium" panose="020B0703020203020204" pitchFamily="34" charset="0"/>
                  <a:sym typeface="Helvetica Neue"/>
                </a:rPr>
                <a:t>DN </a:t>
              </a:r>
              <a:r>
                <a:rPr kumimoji="0" lang="en-IN" sz="1050" b="0" i="0" u="none" strike="noStrike" kern="0" cap="none" spc="0" normalizeH="0" baseline="0" noProof="0" err="1">
                  <a:ln>
                    <a:noFill/>
                  </a:ln>
                  <a:solidFill>
                    <a:srgbClr val="525252"/>
                  </a:solidFill>
                  <a:effectLst/>
                  <a:uLnTx/>
                  <a:uFillTx/>
                  <a:latin typeface="IntelOne Display Medium" panose="020B0703020203020204" pitchFamily="34" charset="0"/>
                  <a:sym typeface="Helvetica Neue"/>
                </a:rPr>
                <a:t>AllConnect</a:t>
              </a:r>
              <a:r>
                <a:rPr kumimoji="0" lang="en-IN" sz="900" b="0" i="0" u="none" strike="noStrike" kern="0" cap="none" spc="0" normalizeH="0" baseline="30000" noProof="0" err="1">
                  <a:ln>
                    <a:noFill/>
                  </a:ln>
                  <a:solidFill>
                    <a:srgbClr val="525252"/>
                  </a:solidFill>
                  <a:effectLst/>
                  <a:uLnTx/>
                  <a:uFillTx/>
                  <a:latin typeface="IntelOne Display Medium" panose="020B0703020203020204" pitchFamily="34" charset="0"/>
                  <a:sym typeface="Helvetica Neue"/>
                </a:rPr>
                <a:t>SM</a:t>
              </a:r>
              <a:endParaRPr kumimoji="0" lang="en-IN" sz="1050" b="0" i="0" u="none" strike="noStrike" kern="0" cap="none" spc="0" normalizeH="0" baseline="30000" noProof="0">
                <a:ln>
                  <a:noFill/>
                </a:ln>
                <a:solidFill>
                  <a:srgbClr val="525252"/>
                </a:solidFill>
                <a:effectLst/>
                <a:uLnTx/>
                <a:uFillTx/>
                <a:latin typeface="IntelOne Display Medium" panose="020B0703020203020204" pitchFamily="34" charset="0"/>
                <a:sym typeface="Helvetica Neue"/>
              </a:endParaRPr>
            </a:p>
          </p:txBody>
        </p:sp>
        <p:sp>
          <p:nvSpPr>
            <p:cNvPr id="20" name="TextBox 19">
              <a:extLst>
                <a:ext uri="{FF2B5EF4-FFF2-40B4-BE49-F238E27FC236}">
                  <a16:creationId xmlns:a16="http://schemas.microsoft.com/office/drawing/2014/main" id="{DA2C068A-9A88-665A-0C97-770A88DBED5F}"/>
                </a:ext>
              </a:extLst>
            </p:cNvPr>
            <p:cNvSpPr txBox="1"/>
            <p:nvPr/>
          </p:nvSpPr>
          <p:spPr>
            <a:xfrm>
              <a:off x="9857757" y="2178599"/>
              <a:ext cx="479946" cy="99763"/>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Display Medium" panose="020B0703020203020204" pitchFamily="34" charset="0"/>
                  <a:sym typeface="Helvetica Neue"/>
                </a:rPr>
                <a:t>Data Engine</a:t>
              </a:r>
              <a:endParaRPr kumimoji="0" lang="en-IN" sz="900" b="0" i="0" u="none" strike="noStrike" kern="0" cap="none" spc="0" normalizeH="0" baseline="30000" noProof="0">
                <a:ln>
                  <a:noFill/>
                </a:ln>
                <a:solidFill>
                  <a:srgbClr val="525252"/>
                </a:solidFill>
                <a:effectLst/>
                <a:uLnTx/>
                <a:uFillTx/>
                <a:latin typeface="IntelOne Display Medium" panose="020B0703020203020204" pitchFamily="34" charset="0"/>
                <a:sym typeface="Helvetica Neue"/>
              </a:endParaRPr>
            </a:p>
          </p:txBody>
        </p:sp>
        <p:sp>
          <p:nvSpPr>
            <p:cNvPr id="21" name="TextBox 20">
              <a:extLst>
                <a:ext uri="{FF2B5EF4-FFF2-40B4-BE49-F238E27FC236}">
                  <a16:creationId xmlns:a16="http://schemas.microsoft.com/office/drawing/2014/main" id="{2D875EA0-B440-2FC6-BB11-3BBFC2764465}"/>
                </a:ext>
              </a:extLst>
            </p:cNvPr>
            <p:cNvSpPr txBox="1"/>
            <p:nvPr/>
          </p:nvSpPr>
          <p:spPr>
            <a:xfrm>
              <a:off x="8537613" y="3044523"/>
              <a:ext cx="2543044" cy="99763"/>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nchorCtr="0">
              <a:spAutoFit/>
            </a:bodyPr>
            <a:lstStyle/>
            <a:p>
              <a:pPr marL="0" marR="0" lvl="0" indent="0" algn="l"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30000" noProof="0">
                  <a:ln>
                    <a:noFill/>
                  </a:ln>
                  <a:solidFill>
                    <a:srgbClr val="525252"/>
                  </a:solidFill>
                  <a:effectLst/>
                  <a:uLnTx/>
                  <a:uFillTx/>
                  <a:latin typeface="IntelOne Text"/>
                  <a:sym typeface="Helvetica Neue"/>
                </a:rPr>
                <a:t>1</a:t>
              </a:r>
              <a:r>
                <a:rPr kumimoji="0" lang="en-IN" sz="900" b="0" i="0" u="none" strike="noStrike" kern="0" cap="none" spc="0" normalizeH="0" baseline="0" noProof="0">
                  <a:ln>
                    <a:noFill/>
                  </a:ln>
                  <a:solidFill>
                    <a:srgbClr val="525252"/>
                  </a:solidFill>
                  <a:effectLst/>
                  <a:uLnTx/>
                  <a:uFillTx/>
                  <a:latin typeface="IntelOne Text"/>
                  <a:sym typeface="Helvetica Neue"/>
                </a:rPr>
                <a:t>Status Monitoring may be DN, Customer or Third-Party</a:t>
              </a:r>
            </a:p>
          </p:txBody>
        </p:sp>
        <p:sp>
          <p:nvSpPr>
            <p:cNvPr id="22" name="TextBox 21">
              <a:extLst>
                <a:ext uri="{FF2B5EF4-FFF2-40B4-BE49-F238E27FC236}">
                  <a16:creationId xmlns:a16="http://schemas.microsoft.com/office/drawing/2014/main" id="{83C1F4A0-42EB-9B31-A189-C0237262A89C}"/>
                </a:ext>
              </a:extLst>
            </p:cNvPr>
            <p:cNvSpPr txBox="1"/>
            <p:nvPr/>
          </p:nvSpPr>
          <p:spPr>
            <a:xfrm>
              <a:off x="10415769" y="2781431"/>
              <a:ext cx="699945" cy="19952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Text"/>
                  <a:sym typeface="Helvetica Neue"/>
                </a:rPr>
                <a:t>Engineering Knowledge Base</a:t>
              </a:r>
            </a:p>
          </p:txBody>
        </p:sp>
        <p:grpSp>
          <p:nvGrpSpPr>
            <p:cNvPr id="23" name="Group 22">
              <a:extLst>
                <a:ext uri="{FF2B5EF4-FFF2-40B4-BE49-F238E27FC236}">
                  <a16:creationId xmlns:a16="http://schemas.microsoft.com/office/drawing/2014/main" id="{1075C1C6-6E26-09AE-9106-47CDB5BA6AB6}"/>
                </a:ext>
              </a:extLst>
            </p:cNvPr>
            <p:cNvGrpSpPr/>
            <p:nvPr/>
          </p:nvGrpSpPr>
          <p:grpSpPr>
            <a:xfrm>
              <a:off x="10637683" y="2533115"/>
              <a:ext cx="197494" cy="198509"/>
              <a:chOff x="8324722" y="4498273"/>
              <a:chExt cx="495428" cy="497974"/>
            </a:xfrm>
          </p:grpSpPr>
          <p:sp>
            <p:nvSpPr>
              <p:cNvPr id="349" name="Freeform: Shape 348">
                <a:extLst>
                  <a:ext uri="{FF2B5EF4-FFF2-40B4-BE49-F238E27FC236}">
                    <a16:creationId xmlns:a16="http://schemas.microsoft.com/office/drawing/2014/main" id="{A185A683-CA17-6F36-EA6F-4AA1BF33ABD8}"/>
                  </a:ext>
                </a:extLst>
              </p:cNvPr>
              <p:cNvSpPr/>
              <p:nvPr/>
            </p:nvSpPr>
            <p:spPr>
              <a:xfrm>
                <a:off x="8324722" y="4503818"/>
                <a:ext cx="492642" cy="140929"/>
              </a:xfrm>
              <a:custGeom>
                <a:avLst/>
                <a:gdLst>
                  <a:gd name="connsiteX0" fmla="*/ 0 w 5069015"/>
                  <a:gd name="connsiteY0" fmla="*/ 0 h 1450086"/>
                  <a:gd name="connsiteX1" fmla="*/ 4468178 w 5069015"/>
                  <a:gd name="connsiteY1" fmla="*/ 0 h 1450086"/>
                  <a:gd name="connsiteX2" fmla="*/ 4468178 w 5069015"/>
                  <a:gd name="connsiteY2" fmla="*/ 219075 h 1450086"/>
                  <a:gd name="connsiteX3" fmla="*/ 219075 w 5069015"/>
                  <a:gd name="connsiteY3" fmla="*/ 219075 h 1450086"/>
                  <a:gd name="connsiteX4" fmla="*/ 219075 w 5069015"/>
                  <a:gd name="connsiteY4" fmla="*/ 1231011 h 1450086"/>
                  <a:gd name="connsiteX5" fmla="*/ 4849940 w 5069015"/>
                  <a:gd name="connsiteY5" fmla="*/ 1231011 h 1450086"/>
                  <a:gd name="connsiteX6" fmla="*/ 4849940 w 5069015"/>
                  <a:gd name="connsiteY6" fmla="*/ 470464 h 1450086"/>
                  <a:gd name="connsiteX7" fmla="*/ 5069015 w 5069015"/>
                  <a:gd name="connsiteY7" fmla="*/ 470464 h 1450086"/>
                  <a:gd name="connsiteX8" fmla="*/ 5069015 w 5069015"/>
                  <a:gd name="connsiteY8" fmla="*/ 1450086 h 1450086"/>
                  <a:gd name="connsiteX9" fmla="*/ 0 w 5069015"/>
                  <a:gd name="connsiteY9" fmla="*/ 1450086 h 145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69015" h="1450086">
                    <a:moveTo>
                      <a:pt x="0" y="0"/>
                    </a:moveTo>
                    <a:lnTo>
                      <a:pt x="4468178" y="0"/>
                    </a:lnTo>
                    <a:lnTo>
                      <a:pt x="4468178" y="219075"/>
                    </a:lnTo>
                    <a:lnTo>
                      <a:pt x="219075" y="219075"/>
                    </a:lnTo>
                    <a:lnTo>
                      <a:pt x="219075" y="1231011"/>
                    </a:lnTo>
                    <a:lnTo>
                      <a:pt x="4849940" y="1231011"/>
                    </a:lnTo>
                    <a:lnTo>
                      <a:pt x="4849940" y="470464"/>
                    </a:lnTo>
                    <a:lnTo>
                      <a:pt x="5069015" y="470464"/>
                    </a:lnTo>
                    <a:lnTo>
                      <a:pt x="5069015" y="1450086"/>
                    </a:lnTo>
                    <a:lnTo>
                      <a:pt x="0" y="1450086"/>
                    </a:lnTo>
                    <a:close/>
                  </a:path>
                </a:pathLst>
              </a:custGeom>
              <a:solidFill>
                <a:srgbClr val="FFFFFF">
                  <a:lumMod val="85000"/>
                </a:srgb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50" name="Freeform: Shape 349">
                <a:extLst>
                  <a:ext uri="{FF2B5EF4-FFF2-40B4-BE49-F238E27FC236}">
                    <a16:creationId xmlns:a16="http://schemas.microsoft.com/office/drawing/2014/main" id="{1B37794D-E87E-1968-256A-C64A5949CB75}"/>
                  </a:ext>
                </a:extLst>
              </p:cNvPr>
              <p:cNvSpPr/>
              <p:nvPr/>
            </p:nvSpPr>
            <p:spPr>
              <a:xfrm>
                <a:off x="8367693" y="4563637"/>
                <a:ext cx="139078" cy="21291"/>
              </a:xfrm>
              <a:custGeom>
                <a:avLst/>
                <a:gdLst>
                  <a:gd name="connsiteX0" fmla="*/ 0 w 1431036"/>
                  <a:gd name="connsiteY0" fmla="*/ 0 h 219075"/>
                  <a:gd name="connsiteX1" fmla="*/ 1431036 w 1431036"/>
                  <a:gd name="connsiteY1" fmla="*/ 0 h 219075"/>
                  <a:gd name="connsiteX2" fmla="*/ 1431036 w 1431036"/>
                  <a:gd name="connsiteY2" fmla="*/ 219075 h 219075"/>
                  <a:gd name="connsiteX3" fmla="*/ 0 w 1431036"/>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1431036" h="219075">
                    <a:moveTo>
                      <a:pt x="0" y="0"/>
                    </a:moveTo>
                    <a:lnTo>
                      <a:pt x="1431036" y="0"/>
                    </a:lnTo>
                    <a:lnTo>
                      <a:pt x="1431036" y="219075"/>
                    </a:lnTo>
                    <a:lnTo>
                      <a:pt x="0" y="219075"/>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51" name="Freeform: Shape 350">
                <a:extLst>
                  <a:ext uri="{FF2B5EF4-FFF2-40B4-BE49-F238E27FC236}">
                    <a16:creationId xmlns:a16="http://schemas.microsoft.com/office/drawing/2014/main" id="{18BD3AF0-C54B-98BA-1628-127980B7E511}"/>
                  </a:ext>
                </a:extLst>
              </p:cNvPr>
              <p:cNvSpPr/>
              <p:nvPr/>
            </p:nvSpPr>
            <p:spPr>
              <a:xfrm>
                <a:off x="8581827" y="4549289"/>
                <a:ext cx="21291" cy="49988"/>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52" name="Freeform: Shape 351">
                <a:extLst>
                  <a:ext uri="{FF2B5EF4-FFF2-40B4-BE49-F238E27FC236}">
                    <a16:creationId xmlns:a16="http://schemas.microsoft.com/office/drawing/2014/main" id="{D81A19A8-CC58-C5A5-AAF5-F01634A7C79B}"/>
                  </a:ext>
                </a:extLst>
              </p:cNvPr>
              <p:cNvSpPr/>
              <p:nvPr/>
            </p:nvSpPr>
            <p:spPr>
              <a:xfrm>
                <a:off x="8624678" y="4549289"/>
                <a:ext cx="21291" cy="49988"/>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53" name="Freeform: Shape 352">
                <a:extLst>
                  <a:ext uri="{FF2B5EF4-FFF2-40B4-BE49-F238E27FC236}">
                    <a16:creationId xmlns:a16="http://schemas.microsoft.com/office/drawing/2014/main" id="{27B19DC7-9860-D758-2150-21DBFCF976BC}"/>
                  </a:ext>
                </a:extLst>
              </p:cNvPr>
              <p:cNvSpPr/>
              <p:nvPr/>
            </p:nvSpPr>
            <p:spPr>
              <a:xfrm>
                <a:off x="8667520" y="4549289"/>
                <a:ext cx="21291" cy="49988"/>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54" name="Freeform: Shape 353">
                <a:extLst>
                  <a:ext uri="{FF2B5EF4-FFF2-40B4-BE49-F238E27FC236}">
                    <a16:creationId xmlns:a16="http://schemas.microsoft.com/office/drawing/2014/main" id="{1548A500-13FB-71A4-4B7E-04A229B8A435}"/>
                  </a:ext>
                </a:extLst>
              </p:cNvPr>
              <p:cNvSpPr/>
              <p:nvPr/>
            </p:nvSpPr>
            <p:spPr>
              <a:xfrm>
                <a:off x="8710371" y="4549289"/>
                <a:ext cx="21291" cy="49988"/>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55" name="Freeform: Shape 354">
                <a:extLst>
                  <a:ext uri="{FF2B5EF4-FFF2-40B4-BE49-F238E27FC236}">
                    <a16:creationId xmlns:a16="http://schemas.microsoft.com/office/drawing/2014/main" id="{5BDEB86E-47FB-D6A8-3755-B33A0B28C7EF}"/>
                  </a:ext>
                </a:extLst>
              </p:cNvPr>
              <p:cNvSpPr/>
              <p:nvPr/>
            </p:nvSpPr>
            <p:spPr>
              <a:xfrm>
                <a:off x="8324722" y="4679572"/>
                <a:ext cx="492642" cy="140929"/>
              </a:xfrm>
              <a:custGeom>
                <a:avLst/>
                <a:gdLst>
                  <a:gd name="connsiteX0" fmla="*/ 5069015 w 5069014"/>
                  <a:gd name="connsiteY0" fmla="*/ 1449991 h 1450085"/>
                  <a:gd name="connsiteX1" fmla="*/ 0 w 5069014"/>
                  <a:gd name="connsiteY1" fmla="*/ 1449991 h 1450085"/>
                  <a:gd name="connsiteX2" fmla="*/ 0 w 5069014"/>
                  <a:gd name="connsiteY2" fmla="*/ 0 h 1450085"/>
                  <a:gd name="connsiteX3" fmla="*/ 5069015 w 5069014"/>
                  <a:gd name="connsiteY3" fmla="*/ 0 h 1450085"/>
                  <a:gd name="connsiteX4" fmla="*/ 5069015 w 5069014"/>
                  <a:gd name="connsiteY4" fmla="*/ 1450086 h 1450085"/>
                  <a:gd name="connsiteX5" fmla="*/ 219075 w 5069014"/>
                  <a:gd name="connsiteY5" fmla="*/ 1230916 h 1450085"/>
                  <a:gd name="connsiteX6" fmla="*/ 4849940 w 5069014"/>
                  <a:gd name="connsiteY6" fmla="*/ 1230916 h 1450085"/>
                  <a:gd name="connsiteX7" fmla="*/ 4849940 w 5069014"/>
                  <a:gd name="connsiteY7" fmla="*/ 218980 h 1450085"/>
                  <a:gd name="connsiteX8" fmla="*/ 219075 w 5069014"/>
                  <a:gd name="connsiteY8" fmla="*/ 218980 h 1450085"/>
                  <a:gd name="connsiteX9" fmla="*/ 219075 w 5069014"/>
                  <a:gd name="connsiteY9" fmla="*/ 1230916 h 1450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69014" h="1450085">
                    <a:moveTo>
                      <a:pt x="5069015" y="1449991"/>
                    </a:moveTo>
                    <a:lnTo>
                      <a:pt x="0" y="1449991"/>
                    </a:lnTo>
                    <a:lnTo>
                      <a:pt x="0" y="0"/>
                    </a:lnTo>
                    <a:lnTo>
                      <a:pt x="5069015" y="0"/>
                    </a:lnTo>
                    <a:lnTo>
                      <a:pt x="5069015" y="1450086"/>
                    </a:lnTo>
                    <a:close/>
                    <a:moveTo>
                      <a:pt x="219075" y="1230916"/>
                    </a:moveTo>
                    <a:lnTo>
                      <a:pt x="4849940" y="1230916"/>
                    </a:lnTo>
                    <a:lnTo>
                      <a:pt x="4849940" y="218980"/>
                    </a:lnTo>
                    <a:lnTo>
                      <a:pt x="219075" y="218980"/>
                    </a:lnTo>
                    <a:lnTo>
                      <a:pt x="219075" y="1230916"/>
                    </a:lnTo>
                    <a:close/>
                  </a:path>
                </a:pathLst>
              </a:custGeom>
              <a:solidFill>
                <a:srgbClr val="FFFFFF">
                  <a:lumMod val="85000"/>
                </a:srgb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56" name="Freeform: Shape 355">
                <a:extLst>
                  <a:ext uri="{FF2B5EF4-FFF2-40B4-BE49-F238E27FC236}">
                    <a16:creationId xmlns:a16="http://schemas.microsoft.com/office/drawing/2014/main" id="{CFFA3389-4CEE-885F-AC5B-4C3683EFFDC8}"/>
                  </a:ext>
                </a:extLst>
              </p:cNvPr>
              <p:cNvSpPr/>
              <p:nvPr/>
            </p:nvSpPr>
            <p:spPr>
              <a:xfrm>
                <a:off x="8367693" y="4739382"/>
                <a:ext cx="139078" cy="21291"/>
              </a:xfrm>
              <a:custGeom>
                <a:avLst/>
                <a:gdLst>
                  <a:gd name="connsiteX0" fmla="*/ 0 w 1431036"/>
                  <a:gd name="connsiteY0" fmla="*/ 0 h 219075"/>
                  <a:gd name="connsiteX1" fmla="*/ 1431036 w 1431036"/>
                  <a:gd name="connsiteY1" fmla="*/ 0 h 219075"/>
                  <a:gd name="connsiteX2" fmla="*/ 1431036 w 1431036"/>
                  <a:gd name="connsiteY2" fmla="*/ 219075 h 219075"/>
                  <a:gd name="connsiteX3" fmla="*/ 0 w 1431036"/>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1431036" h="219075">
                    <a:moveTo>
                      <a:pt x="0" y="0"/>
                    </a:moveTo>
                    <a:lnTo>
                      <a:pt x="1431036" y="0"/>
                    </a:lnTo>
                    <a:lnTo>
                      <a:pt x="1431036" y="219075"/>
                    </a:lnTo>
                    <a:lnTo>
                      <a:pt x="0" y="219075"/>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57" name="Freeform: Shape 356">
                <a:extLst>
                  <a:ext uri="{FF2B5EF4-FFF2-40B4-BE49-F238E27FC236}">
                    <a16:creationId xmlns:a16="http://schemas.microsoft.com/office/drawing/2014/main" id="{65F6E1F5-9482-5CB7-12E2-493DDB6629E1}"/>
                  </a:ext>
                </a:extLst>
              </p:cNvPr>
              <p:cNvSpPr/>
              <p:nvPr/>
            </p:nvSpPr>
            <p:spPr>
              <a:xfrm>
                <a:off x="8581827" y="4725034"/>
                <a:ext cx="21291" cy="49988"/>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58" name="Freeform: Shape 357">
                <a:extLst>
                  <a:ext uri="{FF2B5EF4-FFF2-40B4-BE49-F238E27FC236}">
                    <a16:creationId xmlns:a16="http://schemas.microsoft.com/office/drawing/2014/main" id="{8EFC5048-DFB1-97AD-5D66-D960C0AFAB5D}"/>
                  </a:ext>
                </a:extLst>
              </p:cNvPr>
              <p:cNvSpPr/>
              <p:nvPr/>
            </p:nvSpPr>
            <p:spPr>
              <a:xfrm>
                <a:off x="8624678" y="4725034"/>
                <a:ext cx="21291" cy="49988"/>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59" name="Freeform: Shape 358">
                <a:extLst>
                  <a:ext uri="{FF2B5EF4-FFF2-40B4-BE49-F238E27FC236}">
                    <a16:creationId xmlns:a16="http://schemas.microsoft.com/office/drawing/2014/main" id="{3233087E-0584-A401-170D-B34385687B25}"/>
                  </a:ext>
                </a:extLst>
              </p:cNvPr>
              <p:cNvSpPr/>
              <p:nvPr/>
            </p:nvSpPr>
            <p:spPr>
              <a:xfrm>
                <a:off x="8667520" y="4725034"/>
                <a:ext cx="21291" cy="49988"/>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60" name="Freeform: Shape 359">
                <a:extLst>
                  <a:ext uri="{FF2B5EF4-FFF2-40B4-BE49-F238E27FC236}">
                    <a16:creationId xmlns:a16="http://schemas.microsoft.com/office/drawing/2014/main" id="{7B8ACFA3-36FE-5061-54B3-C0C513BD22C8}"/>
                  </a:ext>
                </a:extLst>
              </p:cNvPr>
              <p:cNvSpPr/>
              <p:nvPr/>
            </p:nvSpPr>
            <p:spPr>
              <a:xfrm>
                <a:off x="8710371" y="4725034"/>
                <a:ext cx="21291" cy="49988"/>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61" name="Freeform: Shape 360">
                <a:extLst>
                  <a:ext uri="{FF2B5EF4-FFF2-40B4-BE49-F238E27FC236}">
                    <a16:creationId xmlns:a16="http://schemas.microsoft.com/office/drawing/2014/main" id="{6C2E1288-466B-036C-3222-902D9C12AE44}"/>
                  </a:ext>
                </a:extLst>
              </p:cNvPr>
              <p:cNvSpPr/>
              <p:nvPr/>
            </p:nvSpPr>
            <p:spPr>
              <a:xfrm>
                <a:off x="8324722" y="4855318"/>
                <a:ext cx="492642" cy="140929"/>
              </a:xfrm>
              <a:custGeom>
                <a:avLst/>
                <a:gdLst>
                  <a:gd name="connsiteX0" fmla="*/ 5069015 w 5069014"/>
                  <a:gd name="connsiteY0" fmla="*/ 1450086 h 1450085"/>
                  <a:gd name="connsiteX1" fmla="*/ 0 w 5069014"/>
                  <a:gd name="connsiteY1" fmla="*/ 1450086 h 1450085"/>
                  <a:gd name="connsiteX2" fmla="*/ 0 w 5069014"/>
                  <a:gd name="connsiteY2" fmla="*/ 0 h 1450085"/>
                  <a:gd name="connsiteX3" fmla="*/ 5069015 w 5069014"/>
                  <a:gd name="connsiteY3" fmla="*/ 0 h 1450085"/>
                  <a:gd name="connsiteX4" fmla="*/ 5069015 w 5069014"/>
                  <a:gd name="connsiteY4" fmla="*/ 1450086 h 1450085"/>
                  <a:gd name="connsiteX5" fmla="*/ 219075 w 5069014"/>
                  <a:gd name="connsiteY5" fmla="*/ 1231011 h 1450085"/>
                  <a:gd name="connsiteX6" fmla="*/ 4849940 w 5069014"/>
                  <a:gd name="connsiteY6" fmla="*/ 1231011 h 1450085"/>
                  <a:gd name="connsiteX7" fmla="*/ 4849940 w 5069014"/>
                  <a:gd name="connsiteY7" fmla="*/ 219075 h 1450085"/>
                  <a:gd name="connsiteX8" fmla="*/ 219075 w 5069014"/>
                  <a:gd name="connsiteY8" fmla="*/ 219075 h 1450085"/>
                  <a:gd name="connsiteX9" fmla="*/ 219075 w 5069014"/>
                  <a:gd name="connsiteY9" fmla="*/ 1231011 h 1450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69014" h="1450085">
                    <a:moveTo>
                      <a:pt x="5069015" y="1450086"/>
                    </a:moveTo>
                    <a:lnTo>
                      <a:pt x="0" y="1450086"/>
                    </a:lnTo>
                    <a:lnTo>
                      <a:pt x="0" y="0"/>
                    </a:lnTo>
                    <a:lnTo>
                      <a:pt x="5069015" y="0"/>
                    </a:lnTo>
                    <a:lnTo>
                      <a:pt x="5069015" y="1450086"/>
                    </a:lnTo>
                    <a:close/>
                    <a:moveTo>
                      <a:pt x="219075" y="1231011"/>
                    </a:moveTo>
                    <a:lnTo>
                      <a:pt x="4849940" y="1231011"/>
                    </a:lnTo>
                    <a:lnTo>
                      <a:pt x="4849940" y="219075"/>
                    </a:lnTo>
                    <a:lnTo>
                      <a:pt x="219075" y="219075"/>
                    </a:lnTo>
                    <a:lnTo>
                      <a:pt x="219075" y="1231011"/>
                    </a:lnTo>
                    <a:close/>
                  </a:path>
                </a:pathLst>
              </a:custGeom>
              <a:solidFill>
                <a:srgbClr val="FFFFFF">
                  <a:lumMod val="85000"/>
                </a:srgb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62" name="Freeform: Shape 361">
                <a:extLst>
                  <a:ext uri="{FF2B5EF4-FFF2-40B4-BE49-F238E27FC236}">
                    <a16:creationId xmlns:a16="http://schemas.microsoft.com/office/drawing/2014/main" id="{DED478EE-F9DC-382D-DBB0-53E1959C939A}"/>
                  </a:ext>
                </a:extLst>
              </p:cNvPr>
              <p:cNvSpPr/>
              <p:nvPr/>
            </p:nvSpPr>
            <p:spPr>
              <a:xfrm>
                <a:off x="8367693" y="4915137"/>
                <a:ext cx="139078" cy="21291"/>
              </a:xfrm>
              <a:custGeom>
                <a:avLst/>
                <a:gdLst>
                  <a:gd name="connsiteX0" fmla="*/ 0 w 1431036"/>
                  <a:gd name="connsiteY0" fmla="*/ 0 h 219075"/>
                  <a:gd name="connsiteX1" fmla="*/ 1431036 w 1431036"/>
                  <a:gd name="connsiteY1" fmla="*/ 0 h 219075"/>
                  <a:gd name="connsiteX2" fmla="*/ 1431036 w 1431036"/>
                  <a:gd name="connsiteY2" fmla="*/ 219075 h 219075"/>
                  <a:gd name="connsiteX3" fmla="*/ 0 w 1431036"/>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1431036" h="219075">
                    <a:moveTo>
                      <a:pt x="0" y="0"/>
                    </a:moveTo>
                    <a:lnTo>
                      <a:pt x="1431036" y="0"/>
                    </a:lnTo>
                    <a:lnTo>
                      <a:pt x="1431036" y="219075"/>
                    </a:lnTo>
                    <a:lnTo>
                      <a:pt x="0" y="219075"/>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63" name="Freeform: Shape 362">
                <a:extLst>
                  <a:ext uri="{FF2B5EF4-FFF2-40B4-BE49-F238E27FC236}">
                    <a16:creationId xmlns:a16="http://schemas.microsoft.com/office/drawing/2014/main" id="{64034446-F467-E691-9D93-75CF09F50BBC}"/>
                  </a:ext>
                </a:extLst>
              </p:cNvPr>
              <p:cNvSpPr/>
              <p:nvPr/>
            </p:nvSpPr>
            <p:spPr>
              <a:xfrm>
                <a:off x="8581827" y="4900788"/>
                <a:ext cx="21291" cy="49988"/>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64" name="Freeform: Shape 363">
                <a:extLst>
                  <a:ext uri="{FF2B5EF4-FFF2-40B4-BE49-F238E27FC236}">
                    <a16:creationId xmlns:a16="http://schemas.microsoft.com/office/drawing/2014/main" id="{0554355C-B536-9AB8-B41F-D71C341D8A06}"/>
                  </a:ext>
                </a:extLst>
              </p:cNvPr>
              <p:cNvSpPr/>
              <p:nvPr/>
            </p:nvSpPr>
            <p:spPr>
              <a:xfrm>
                <a:off x="8624678" y="4900788"/>
                <a:ext cx="21291" cy="49988"/>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65" name="Freeform: Shape 364">
                <a:extLst>
                  <a:ext uri="{FF2B5EF4-FFF2-40B4-BE49-F238E27FC236}">
                    <a16:creationId xmlns:a16="http://schemas.microsoft.com/office/drawing/2014/main" id="{0E94DE60-3874-796E-F790-BEC4C38AAC5D}"/>
                  </a:ext>
                </a:extLst>
              </p:cNvPr>
              <p:cNvSpPr/>
              <p:nvPr/>
            </p:nvSpPr>
            <p:spPr>
              <a:xfrm>
                <a:off x="8667520" y="4900788"/>
                <a:ext cx="21291" cy="49988"/>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66" name="Freeform: Shape 365">
                <a:extLst>
                  <a:ext uri="{FF2B5EF4-FFF2-40B4-BE49-F238E27FC236}">
                    <a16:creationId xmlns:a16="http://schemas.microsoft.com/office/drawing/2014/main" id="{0456DC5B-D5BF-F6D4-3EFA-EA5009C0C6C9}"/>
                  </a:ext>
                </a:extLst>
              </p:cNvPr>
              <p:cNvSpPr/>
              <p:nvPr/>
            </p:nvSpPr>
            <p:spPr>
              <a:xfrm>
                <a:off x="8710371" y="4900788"/>
                <a:ext cx="21291" cy="49988"/>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67" name="Freeform: Shape 366">
                <a:extLst>
                  <a:ext uri="{FF2B5EF4-FFF2-40B4-BE49-F238E27FC236}">
                    <a16:creationId xmlns:a16="http://schemas.microsoft.com/office/drawing/2014/main" id="{00D7AE07-72A5-E466-24FF-D56CB9FF242E}"/>
                  </a:ext>
                </a:extLst>
              </p:cNvPr>
              <p:cNvSpPr/>
              <p:nvPr/>
            </p:nvSpPr>
            <p:spPr>
              <a:xfrm>
                <a:off x="8789250" y="4498273"/>
                <a:ext cx="30900" cy="30900"/>
              </a:xfrm>
              <a:custGeom>
                <a:avLst/>
                <a:gdLst>
                  <a:gd name="connsiteX0" fmla="*/ 0 w 317944"/>
                  <a:gd name="connsiteY0" fmla="*/ 0 h 317944"/>
                  <a:gd name="connsiteX1" fmla="*/ 317945 w 317944"/>
                  <a:gd name="connsiteY1" fmla="*/ 0 h 317944"/>
                  <a:gd name="connsiteX2" fmla="*/ 317945 w 317944"/>
                  <a:gd name="connsiteY2" fmla="*/ 317945 h 317944"/>
                  <a:gd name="connsiteX3" fmla="*/ 0 w 317944"/>
                  <a:gd name="connsiteY3" fmla="*/ 317945 h 317944"/>
                </a:gdLst>
                <a:ahLst/>
                <a:cxnLst>
                  <a:cxn ang="0">
                    <a:pos x="connsiteX0" y="connsiteY0"/>
                  </a:cxn>
                  <a:cxn ang="0">
                    <a:pos x="connsiteX1" y="connsiteY1"/>
                  </a:cxn>
                  <a:cxn ang="0">
                    <a:pos x="connsiteX2" y="connsiteY2"/>
                  </a:cxn>
                  <a:cxn ang="0">
                    <a:pos x="connsiteX3" y="connsiteY3"/>
                  </a:cxn>
                </a:cxnLst>
                <a:rect l="l" t="t" r="r" b="b"/>
                <a:pathLst>
                  <a:path w="317944" h="317944">
                    <a:moveTo>
                      <a:pt x="0" y="0"/>
                    </a:moveTo>
                    <a:lnTo>
                      <a:pt x="317945" y="0"/>
                    </a:lnTo>
                    <a:lnTo>
                      <a:pt x="317945" y="317945"/>
                    </a:lnTo>
                    <a:lnTo>
                      <a:pt x="0" y="317945"/>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68" name="Freeform: Shape 367">
                <a:extLst>
                  <a:ext uri="{FF2B5EF4-FFF2-40B4-BE49-F238E27FC236}">
                    <a16:creationId xmlns:a16="http://schemas.microsoft.com/office/drawing/2014/main" id="{76176968-4982-A590-BA48-EC5AD3305B46}"/>
                  </a:ext>
                </a:extLst>
              </p:cNvPr>
              <p:cNvSpPr/>
              <p:nvPr/>
            </p:nvSpPr>
            <p:spPr>
              <a:xfrm>
                <a:off x="8718643" y="4503818"/>
                <a:ext cx="62887" cy="21291"/>
              </a:xfrm>
              <a:custGeom>
                <a:avLst/>
                <a:gdLst>
                  <a:gd name="connsiteX0" fmla="*/ 0 w 647074"/>
                  <a:gd name="connsiteY0" fmla="*/ 0 h 219075"/>
                  <a:gd name="connsiteX1" fmla="*/ 647074 w 647074"/>
                  <a:gd name="connsiteY1" fmla="*/ 0 h 219075"/>
                  <a:gd name="connsiteX2" fmla="*/ 647074 w 647074"/>
                  <a:gd name="connsiteY2" fmla="*/ 219075 h 219075"/>
                  <a:gd name="connsiteX3" fmla="*/ 0 w 647074"/>
                  <a:gd name="connsiteY3" fmla="*/ 219075 h 219075"/>
                  <a:gd name="connsiteX4" fmla="*/ 0 w 647074"/>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074" h="219075">
                    <a:moveTo>
                      <a:pt x="0" y="0"/>
                    </a:moveTo>
                    <a:lnTo>
                      <a:pt x="647074" y="0"/>
                    </a:lnTo>
                    <a:lnTo>
                      <a:pt x="647074" y="219075"/>
                    </a:lnTo>
                    <a:lnTo>
                      <a:pt x="0" y="219075"/>
                    </a:lnTo>
                    <a:lnTo>
                      <a:pt x="0" y="0"/>
                    </a:lnTo>
                    <a:close/>
                  </a:path>
                </a:pathLst>
              </a:custGeom>
              <a:gradFill>
                <a:gsLst>
                  <a:gs pos="0">
                    <a:srgbClr val="FFFFFF"/>
                  </a:gs>
                  <a:gs pos="99000">
                    <a:srgbClr val="FFFFFF">
                      <a:lumMod val="85000"/>
                    </a:srgbClr>
                  </a:gs>
                </a:gsLst>
                <a:lin ang="7200000" scaled="0"/>
              </a:gra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69" name="Freeform: Shape 368">
                <a:extLst>
                  <a:ext uri="{FF2B5EF4-FFF2-40B4-BE49-F238E27FC236}">
                    <a16:creationId xmlns:a16="http://schemas.microsoft.com/office/drawing/2014/main" id="{71F171BD-1370-F9F9-1D0D-F24AD83431CF}"/>
                  </a:ext>
                </a:extLst>
              </p:cNvPr>
              <p:cNvSpPr/>
              <p:nvPr/>
            </p:nvSpPr>
            <p:spPr>
              <a:xfrm>
                <a:off x="8796073" y="4536884"/>
                <a:ext cx="21291" cy="65628"/>
              </a:xfrm>
              <a:custGeom>
                <a:avLst/>
                <a:gdLst>
                  <a:gd name="connsiteX0" fmla="*/ 0 w 219075"/>
                  <a:gd name="connsiteY0" fmla="*/ 0 h 675280"/>
                  <a:gd name="connsiteX1" fmla="*/ 219075 w 219075"/>
                  <a:gd name="connsiteY1" fmla="*/ 0 h 675280"/>
                  <a:gd name="connsiteX2" fmla="*/ 219075 w 219075"/>
                  <a:gd name="connsiteY2" fmla="*/ 675280 h 675280"/>
                  <a:gd name="connsiteX3" fmla="*/ 0 w 219075"/>
                  <a:gd name="connsiteY3" fmla="*/ 675280 h 675280"/>
                  <a:gd name="connsiteX4" fmla="*/ 0 w 219075"/>
                  <a:gd name="connsiteY4" fmla="*/ 0 h 67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75280">
                    <a:moveTo>
                      <a:pt x="0" y="0"/>
                    </a:moveTo>
                    <a:lnTo>
                      <a:pt x="219075" y="0"/>
                    </a:lnTo>
                    <a:lnTo>
                      <a:pt x="219075" y="675280"/>
                    </a:lnTo>
                    <a:lnTo>
                      <a:pt x="0" y="675280"/>
                    </a:lnTo>
                    <a:lnTo>
                      <a:pt x="0" y="0"/>
                    </a:lnTo>
                    <a:close/>
                  </a:path>
                </a:pathLst>
              </a:custGeom>
              <a:gradFill>
                <a:gsLst>
                  <a:gs pos="0">
                    <a:srgbClr val="FFFFFF"/>
                  </a:gs>
                  <a:gs pos="99000">
                    <a:srgbClr val="FFFFFF">
                      <a:lumMod val="85000"/>
                    </a:srgbClr>
                  </a:gs>
                </a:gsLst>
                <a:lin ang="7200000" scaled="0"/>
              </a:gra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nvGrpSpPr>
            <p:cNvPr id="24" name="Group 23">
              <a:extLst>
                <a:ext uri="{FF2B5EF4-FFF2-40B4-BE49-F238E27FC236}">
                  <a16:creationId xmlns:a16="http://schemas.microsoft.com/office/drawing/2014/main" id="{3CE988B4-8AB2-F592-91CB-6274F335AF43}"/>
                </a:ext>
              </a:extLst>
            </p:cNvPr>
            <p:cNvGrpSpPr/>
            <p:nvPr/>
          </p:nvGrpSpPr>
          <p:grpSpPr>
            <a:xfrm>
              <a:off x="9858014" y="2571215"/>
              <a:ext cx="534952" cy="411930"/>
              <a:chOff x="9873889" y="2599790"/>
              <a:chExt cx="534952" cy="411930"/>
            </a:xfrm>
          </p:grpSpPr>
          <p:sp>
            <p:nvSpPr>
              <p:cNvPr id="340" name="TextBox 339">
                <a:extLst>
                  <a:ext uri="{FF2B5EF4-FFF2-40B4-BE49-F238E27FC236}">
                    <a16:creationId xmlns:a16="http://schemas.microsoft.com/office/drawing/2014/main" id="{B646224A-AB23-783E-DF1A-B0D486E1CAA1}"/>
                  </a:ext>
                </a:extLst>
              </p:cNvPr>
              <p:cNvSpPr txBox="1"/>
              <p:nvPr/>
            </p:nvSpPr>
            <p:spPr>
              <a:xfrm>
                <a:off x="9873889" y="2812193"/>
                <a:ext cx="534952" cy="19952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Text"/>
                    <a:sym typeface="Helvetica Neue"/>
                  </a:rPr>
                  <a:t>Engineering Analysis</a:t>
                </a:r>
              </a:p>
            </p:txBody>
          </p:sp>
          <p:grpSp>
            <p:nvGrpSpPr>
              <p:cNvPr id="341" name="Group 340">
                <a:extLst>
                  <a:ext uri="{FF2B5EF4-FFF2-40B4-BE49-F238E27FC236}">
                    <a16:creationId xmlns:a16="http://schemas.microsoft.com/office/drawing/2014/main" id="{50F22609-5CA5-A4DE-5B00-64EFF4D201C1}"/>
                  </a:ext>
                </a:extLst>
              </p:cNvPr>
              <p:cNvGrpSpPr/>
              <p:nvPr/>
            </p:nvGrpSpPr>
            <p:grpSpPr>
              <a:xfrm>
                <a:off x="10048466" y="2599790"/>
                <a:ext cx="185515" cy="183095"/>
                <a:chOff x="6936778" y="4486866"/>
                <a:chExt cx="465379" cy="459309"/>
              </a:xfrm>
            </p:grpSpPr>
            <p:sp>
              <p:nvSpPr>
                <p:cNvPr id="342" name="Freeform: Shape 341">
                  <a:extLst>
                    <a:ext uri="{FF2B5EF4-FFF2-40B4-BE49-F238E27FC236}">
                      <a16:creationId xmlns:a16="http://schemas.microsoft.com/office/drawing/2014/main" id="{68526D0B-0300-253A-2C6B-04621BF9DB1A}"/>
                    </a:ext>
                  </a:extLst>
                </p:cNvPr>
                <p:cNvSpPr/>
                <p:nvPr/>
              </p:nvSpPr>
              <p:spPr>
                <a:xfrm>
                  <a:off x="7029450" y="4787995"/>
                  <a:ext cx="128469" cy="130634"/>
                </a:xfrm>
                <a:custGeom>
                  <a:avLst/>
                  <a:gdLst>
                    <a:gd name="connsiteX0" fmla="*/ 1144048 w 1300352"/>
                    <a:gd name="connsiteY0" fmla="*/ 0 h 1322260"/>
                    <a:gd name="connsiteX1" fmla="*/ 1300353 w 1300352"/>
                    <a:gd name="connsiteY1" fmla="*/ 153543 h 1322260"/>
                    <a:gd name="connsiteX2" fmla="*/ 151733 w 1300352"/>
                    <a:gd name="connsiteY2" fmla="*/ 1322261 h 1322260"/>
                    <a:gd name="connsiteX3" fmla="*/ 0 w 1300352"/>
                    <a:gd name="connsiteY3" fmla="*/ 1164146 h 1322260"/>
                    <a:gd name="connsiteX4" fmla="*/ 1144048 w 1300352"/>
                    <a:gd name="connsiteY4" fmla="*/ 0 h 1322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352" h="1322260">
                      <a:moveTo>
                        <a:pt x="1144048" y="0"/>
                      </a:moveTo>
                      <a:lnTo>
                        <a:pt x="1300353" y="153543"/>
                      </a:lnTo>
                      <a:lnTo>
                        <a:pt x="151733" y="1322261"/>
                      </a:lnTo>
                      <a:lnTo>
                        <a:pt x="0" y="1164146"/>
                      </a:lnTo>
                      <a:lnTo>
                        <a:pt x="1144048" y="0"/>
                      </a:lnTo>
                      <a:close/>
                    </a:path>
                  </a:pathLst>
                </a:custGeom>
                <a:gradFill>
                  <a:gsLst>
                    <a:gs pos="0">
                      <a:srgbClr val="FFFFFF"/>
                    </a:gs>
                    <a:gs pos="99000">
                      <a:srgbClr val="FFFFFF">
                        <a:lumMod val="85000"/>
                      </a:srgbClr>
                    </a:gs>
                  </a:gsLst>
                  <a:lin ang="16200000" scaled="1"/>
                </a:gra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43" name="Freeform: Shape 342">
                  <a:extLst>
                    <a:ext uri="{FF2B5EF4-FFF2-40B4-BE49-F238E27FC236}">
                      <a16:creationId xmlns:a16="http://schemas.microsoft.com/office/drawing/2014/main" id="{333CA8F4-7616-3666-83E1-E691869CA24C}"/>
                    </a:ext>
                  </a:extLst>
                </p:cNvPr>
                <p:cNvSpPr/>
                <p:nvPr/>
              </p:nvSpPr>
              <p:spPr>
                <a:xfrm>
                  <a:off x="6954630" y="4486866"/>
                  <a:ext cx="447527" cy="377258"/>
                </a:xfrm>
                <a:custGeom>
                  <a:avLst/>
                  <a:gdLst>
                    <a:gd name="connsiteX0" fmla="*/ 3425250 w 4529832"/>
                    <a:gd name="connsiteY0" fmla="*/ 16 h 3818553"/>
                    <a:gd name="connsiteX1" fmla="*/ 3685597 w 4529832"/>
                    <a:gd name="connsiteY1" fmla="*/ 26552 h 3818553"/>
                    <a:gd name="connsiteX2" fmla="*/ 3865239 w 4529832"/>
                    <a:gd name="connsiteY2" fmla="*/ 69414 h 3818553"/>
                    <a:gd name="connsiteX3" fmla="*/ 3362414 w 4529832"/>
                    <a:gd name="connsiteY3" fmla="*/ 626341 h 3818553"/>
                    <a:gd name="connsiteX4" fmla="*/ 3269736 w 4529832"/>
                    <a:gd name="connsiteY4" fmla="*/ 892469 h 3818553"/>
                    <a:gd name="connsiteX5" fmla="*/ 3395847 w 4529832"/>
                    <a:gd name="connsiteY5" fmla="*/ 1144596 h 3818553"/>
                    <a:gd name="connsiteX6" fmla="*/ 3413754 w 4529832"/>
                    <a:gd name="connsiteY6" fmla="*/ 1159931 h 3818553"/>
                    <a:gd name="connsiteX7" fmla="*/ 3905625 w 4529832"/>
                    <a:gd name="connsiteY7" fmla="*/ 1140786 h 3818553"/>
                    <a:gd name="connsiteX8" fmla="*/ 4415974 w 4529832"/>
                    <a:gd name="connsiteY8" fmla="*/ 630532 h 3818553"/>
                    <a:gd name="connsiteX9" fmla="*/ 4479315 w 4529832"/>
                    <a:gd name="connsiteY9" fmla="*/ 780265 h 3818553"/>
                    <a:gd name="connsiteX10" fmla="*/ 4527512 w 4529832"/>
                    <a:gd name="connsiteY10" fmla="*/ 1072682 h 3818553"/>
                    <a:gd name="connsiteX11" fmla="*/ 4522940 w 4529832"/>
                    <a:gd name="connsiteY11" fmla="*/ 1119260 h 3818553"/>
                    <a:gd name="connsiteX12" fmla="*/ 3969728 w 4529832"/>
                    <a:gd name="connsiteY12" fmla="*/ 2103764 h 3818553"/>
                    <a:gd name="connsiteX13" fmla="*/ 2937218 w 4529832"/>
                    <a:gd name="connsiteY13" fmla="*/ 2306551 h 3818553"/>
                    <a:gd name="connsiteX14" fmla="*/ 2757767 w 4529832"/>
                    <a:gd name="connsiteY14" fmla="*/ 2489145 h 3818553"/>
                    <a:gd name="connsiteX15" fmla="*/ 2601557 w 4529832"/>
                    <a:gd name="connsiteY15" fmla="*/ 2335602 h 3818553"/>
                    <a:gd name="connsiteX16" fmla="*/ 2885116 w 4529832"/>
                    <a:gd name="connsiteY16" fmla="*/ 2046995 h 3818553"/>
                    <a:gd name="connsiteX17" fmla="*/ 2955315 w 4529832"/>
                    <a:gd name="connsiteY17" fmla="*/ 2079761 h 3818553"/>
                    <a:gd name="connsiteX18" fmla="*/ 3832568 w 4529832"/>
                    <a:gd name="connsiteY18" fmla="*/ 1932980 h 3818553"/>
                    <a:gd name="connsiteX19" fmla="*/ 4304913 w 4529832"/>
                    <a:gd name="connsiteY19" fmla="*/ 1098305 h 3818553"/>
                    <a:gd name="connsiteX20" fmla="*/ 4309580 w 4529832"/>
                    <a:gd name="connsiteY20" fmla="*/ 1050299 h 3818553"/>
                    <a:gd name="connsiteX21" fmla="*/ 4309961 w 4529832"/>
                    <a:gd name="connsiteY21" fmla="*/ 1046298 h 3818553"/>
                    <a:gd name="connsiteX22" fmla="*/ 4060501 w 4529832"/>
                    <a:gd name="connsiteY22" fmla="*/ 1295758 h 3818553"/>
                    <a:gd name="connsiteX23" fmla="*/ 3671976 w 4529832"/>
                    <a:gd name="connsiteY23" fmla="*/ 1465589 h 3818553"/>
                    <a:gd name="connsiteX24" fmla="*/ 3271355 w 4529832"/>
                    <a:gd name="connsiteY24" fmla="*/ 1326428 h 3818553"/>
                    <a:gd name="connsiteX25" fmla="*/ 3253448 w 4529832"/>
                    <a:gd name="connsiteY25" fmla="*/ 1311093 h 3818553"/>
                    <a:gd name="connsiteX26" fmla="*/ 3051137 w 4529832"/>
                    <a:gd name="connsiteY26" fmla="*/ 906566 h 3818553"/>
                    <a:gd name="connsiteX27" fmla="*/ 3199822 w 4529832"/>
                    <a:gd name="connsiteY27" fmla="*/ 479465 h 3818553"/>
                    <a:gd name="connsiteX28" fmla="*/ 3434328 w 4529832"/>
                    <a:gd name="connsiteY28" fmla="*/ 219814 h 3818553"/>
                    <a:gd name="connsiteX29" fmla="*/ 3291548 w 4529832"/>
                    <a:gd name="connsiteY29" fmla="*/ 226672 h 3818553"/>
                    <a:gd name="connsiteX30" fmla="*/ 2669756 w 4529832"/>
                    <a:gd name="connsiteY30" fmla="*/ 532901 h 3818553"/>
                    <a:gd name="connsiteX31" fmla="*/ 2404485 w 4529832"/>
                    <a:gd name="connsiteY31" fmla="*/ 1542360 h 3818553"/>
                    <a:gd name="connsiteX32" fmla="*/ 2426487 w 4529832"/>
                    <a:gd name="connsiteY32" fmla="*/ 1607702 h 3818553"/>
                    <a:gd name="connsiteX33" fmla="*/ 153396 w 4529832"/>
                    <a:gd name="connsiteY33" fmla="*/ 3818553 h 3818553"/>
                    <a:gd name="connsiteX34" fmla="*/ 0 w 4529832"/>
                    <a:gd name="connsiteY34" fmla="*/ 3662207 h 3818553"/>
                    <a:gd name="connsiteX35" fmla="*/ 2175885 w 4529832"/>
                    <a:gd name="connsiteY35" fmla="*/ 1545885 h 3818553"/>
                    <a:gd name="connsiteX36" fmla="*/ 2507831 w 4529832"/>
                    <a:gd name="connsiteY36" fmla="*/ 385358 h 3818553"/>
                    <a:gd name="connsiteX37" fmla="*/ 3425250 w 4529832"/>
                    <a:gd name="connsiteY37" fmla="*/ 16 h 3818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529832" h="3818553">
                      <a:moveTo>
                        <a:pt x="3425250" y="16"/>
                      </a:moveTo>
                      <a:cubicBezTo>
                        <a:pt x="3573195" y="701"/>
                        <a:pt x="3674918" y="23980"/>
                        <a:pt x="3685597" y="26552"/>
                      </a:cubicBezTo>
                      <a:lnTo>
                        <a:pt x="3865239" y="69414"/>
                      </a:lnTo>
                      <a:lnTo>
                        <a:pt x="3362414" y="626341"/>
                      </a:lnTo>
                      <a:cubicBezTo>
                        <a:pt x="3296310" y="699493"/>
                        <a:pt x="3263354" y="794076"/>
                        <a:pt x="3269736" y="892469"/>
                      </a:cubicBezTo>
                      <a:cubicBezTo>
                        <a:pt x="3276118" y="990958"/>
                        <a:pt x="3320885" y="1080493"/>
                        <a:pt x="3395847" y="1144596"/>
                      </a:cubicBezTo>
                      <a:lnTo>
                        <a:pt x="3413754" y="1159931"/>
                      </a:lnTo>
                      <a:cubicBezTo>
                        <a:pt x="3556629" y="1282137"/>
                        <a:pt x="3772656" y="1273755"/>
                        <a:pt x="3905625" y="1140786"/>
                      </a:cubicBezTo>
                      <a:lnTo>
                        <a:pt x="4415974" y="630532"/>
                      </a:lnTo>
                      <a:lnTo>
                        <a:pt x="4479315" y="780265"/>
                      </a:lnTo>
                      <a:cubicBezTo>
                        <a:pt x="4485697" y="795505"/>
                        <a:pt x="4541799" y="933046"/>
                        <a:pt x="4527512" y="1072682"/>
                      </a:cubicBezTo>
                      <a:cubicBezTo>
                        <a:pt x="4525893" y="1088113"/>
                        <a:pt x="4524464" y="1103543"/>
                        <a:pt x="4522940" y="1119260"/>
                      </a:cubicBezTo>
                      <a:cubicBezTo>
                        <a:pt x="4499223" y="1366338"/>
                        <a:pt x="4466838" y="1704761"/>
                        <a:pt x="3969728" y="2103764"/>
                      </a:cubicBezTo>
                      <a:cubicBezTo>
                        <a:pt x="3541008" y="2447997"/>
                        <a:pt x="3107620" y="2361510"/>
                        <a:pt x="2937218" y="2306551"/>
                      </a:cubicBezTo>
                      <a:lnTo>
                        <a:pt x="2757767" y="2489145"/>
                      </a:lnTo>
                      <a:lnTo>
                        <a:pt x="2601557" y="2335602"/>
                      </a:lnTo>
                      <a:lnTo>
                        <a:pt x="2885116" y="2046995"/>
                      </a:lnTo>
                      <a:lnTo>
                        <a:pt x="2955315" y="2079761"/>
                      </a:lnTo>
                      <a:cubicBezTo>
                        <a:pt x="2972937" y="2087857"/>
                        <a:pt x="3403181" y="2277786"/>
                        <a:pt x="3832568" y="1932980"/>
                      </a:cubicBezTo>
                      <a:cubicBezTo>
                        <a:pt x="4257573" y="1591795"/>
                        <a:pt x="4282720" y="1329572"/>
                        <a:pt x="4304913" y="1098305"/>
                      </a:cubicBezTo>
                      <a:cubicBezTo>
                        <a:pt x="4306437" y="1082017"/>
                        <a:pt x="4307961" y="1066015"/>
                        <a:pt x="4309580" y="1050299"/>
                      </a:cubicBezTo>
                      <a:cubicBezTo>
                        <a:pt x="4309771" y="1048965"/>
                        <a:pt x="4309866" y="1047632"/>
                        <a:pt x="4309961" y="1046298"/>
                      </a:cubicBezTo>
                      <a:lnTo>
                        <a:pt x="4060501" y="1295758"/>
                      </a:lnTo>
                      <a:cubicBezTo>
                        <a:pt x="3956679" y="1399580"/>
                        <a:pt x="3818661" y="1459874"/>
                        <a:pt x="3671976" y="1465589"/>
                      </a:cubicBezTo>
                      <a:cubicBezTo>
                        <a:pt x="3525291" y="1471304"/>
                        <a:pt x="3382988" y="1421869"/>
                        <a:pt x="3271355" y="1326428"/>
                      </a:cubicBezTo>
                      <a:lnTo>
                        <a:pt x="3253448" y="1311093"/>
                      </a:lnTo>
                      <a:cubicBezTo>
                        <a:pt x="3133147" y="1208223"/>
                        <a:pt x="3061329" y="1064586"/>
                        <a:pt x="3051137" y="906566"/>
                      </a:cubicBezTo>
                      <a:cubicBezTo>
                        <a:pt x="3040945" y="748642"/>
                        <a:pt x="3093714" y="597004"/>
                        <a:pt x="3199822" y="479465"/>
                      </a:cubicBezTo>
                      <a:lnTo>
                        <a:pt x="3434328" y="219814"/>
                      </a:lnTo>
                      <a:cubicBezTo>
                        <a:pt x="3391179" y="219338"/>
                        <a:pt x="3342983" y="221052"/>
                        <a:pt x="3291548" y="226672"/>
                      </a:cubicBezTo>
                      <a:cubicBezTo>
                        <a:pt x="3039231" y="254009"/>
                        <a:pt x="2829966" y="356974"/>
                        <a:pt x="2669756" y="532901"/>
                      </a:cubicBezTo>
                      <a:cubicBezTo>
                        <a:pt x="2364289" y="868276"/>
                        <a:pt x="2253513" y="1093637"/>
                        <a:pt x="2404485" y="1542360"/>
                      </a:cubicBezTo>
                      <a:lnTo>
                        <a:pt x="2426487" y="1607702"/>
                      </a:lnTo>
                      <a:lnTo>
                        <a:pt x="153396" y="3818553"/>
                      </a:lnTo>
                      <a:lnTo>
                        <a:pt x="0" y="3662207"/>
                      </a:lnTo>
                      <a:lnTo>
                        <a:pt x="2175885" y="1545885"/>
                      </a:lnTo>
                      <a:cubicBezTo>
                        <a:pt x="2026723" y="1043060"/>
                        <a:pt x="2179218" y="746070"/>
                        <a:pt x="2507831" y="385358"/>
                      </a:cubicBezTo>
                      <a:cubicBezTo>
                        <a:pt x="2803701" y="60496"/>
                        <a:pt x="3178674" y="-1126"/>
                        <a:pt x="3425250" y="16"/>
                      </a:cubicBezTo>
                      <a:close/>
                    </a:path>
                  </a:pathLst>
                </a:custGeom>
                <a:solidFill>
                  <a:srgbClr val="FFFFFF">
                    <a:lumMod val="8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44" name="Freeform: Shape 343">
                  <a:extLst>
                    <a:ext uri="{FF2B5EF4-FFF2-40B4-BE49-F238E27FC236}">
                      <a16:creationId xmlns:a16="http://schemas.microsoft.com/office/drawing/2014/main" id="{92D03CA3-F8D9-6472-01F8-3D6E7FF781A2}"/>
                    </a:ext>
                  </a:extLst>
                </p:cNvPr>
                <p:cNvSpPr/>
                <p:nvPr/>
              </p:nvSpPr>
              <p:spPr>
                <a:xfrm>
                  <a:off x="7112242" y="4681375"/>
                  <a:ext cx="251781" cy="251783"/>
                </a:xfrm>
                <a:custGeom>
                  <a:avLst/>
                  <a:gdLst>
                    <a:gd name="connsiteX0" fmla="*/ 1915954 w 2548508"/>
                    <a:gd name="connsiteY0" fmla="*/ 2548509 h 2548509"/>
                    <a:gd name="connsiteX1" fmla="*/ 1533906 w 2548508"/>
                    <a:gd name="connsiteY1" fmla="*/ 2390490 h 2548509"/>
                    <a:gd name="connsiteX2" fmla="*/ 0 w 2548508"/>
                    <a:gd name="connsiteY2" fmla="*/ 856583 h 2548509"/>
                    <a:gd name="connsiteX3" fmla="*/ 856583 w 2548508"/>
                    <a:gd name="connsiteY3" fmla="*/ 0 h 2548509"/>
                    <a:gd name="connsiteX4" fmla="*/ 2390489 w 2548508"/>
                    <a:gd name="connsiteY4" fmla="*/ 1533906 h 2548509"/>
                    <a:gd name="connsiteX5" fmla="*/ 2390489 w 2548508"/>
                    <a:gd name="connsiteY5" fmla="*/ 2298002 h 2548509"/>
                    <a:gd name="connsiteX6" fmla="*/ 2298002 w 2548508"/>
                    <a:gd name="connsiteY6" fmla="*/ 2390490 h 2548509"/>
                    <a:gd name="connsiteX7" fmla="*/ 1915954 w 2548508"/>
                    <a:gd name="connsiteY7" fmla="*/ 2548509 h 2548509"/>
                    <a:gd name="connsiteX8" fmla="*/ 1688783 w 2548508"/>
                    <a:gd name="connsiteY8" fmla="*/ 2235613 h 2548509"/>
                    <a:gd name="connsiteX9" fmla="*/ 2143030 w 2548508"/>
                    <a:gd name="connsiteY9" fmla="*/ 2235613 h 2548509"/>
                    <a:gd name="connsiteX10" fmla="*/ 2235518 w 2548508"/>
                    <a:gd name="connsiteY10" fmla="*/ 2143125 h 2548509"/>
                    <a:gd name="connsiteX11" fmla="*/ 2235518 w 2548508"/>
                    <a:gd name="connsiteY11" fmla="*/ 1688878 h 2548509"/>
                    <a:gd name="connsiteX12" fmla="*/ 856583 w 2548508"/>
                    <a:gd name="connsiteY12" fmla="*/ 309944 h 2548509"/>
                    <a:gd name="connsiteX13" fmla="*/ 309848 w 2548508"/>
                    <a:gd name="connsiteY13" fmla="*/ 856679 h 2548509"/>
                    <a:gd name="connsiteX14" fmla="*/ 1688783 w 2548508"/>
                    <a:gd name="connsiteY14" fmla="*/ 2235613 h 254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48508" h="2548509">
                      <a:moveTo>
                        <a:pt x="1915954" y="2548509"/>
                      </a:moveTo>
                      <a:cubicBezTo>
                        <a:pt x="1777555" y="2548509"/>
                        <a:pt x="1639252" y="2495836"/>
                        <a:pt x="1533906" y="2390490"/>
                      </a:cubicBezTo>
                      <a:lnTo>
                        <a:pt x="0" y="856583"/>
                      </a:lnTo>
                      <a:lnTo>
                        <a:pt x="856583" y="0"/>
                      </a:lnTo>
                      <a:lnTo>
                        <a:pt x="2390489" y="1533906"/>
                      </a:lnTo>
                      <a:cubicBezTo>
                        <a:pt x="2601182" y="1744599"/>
                        <a:pt x="2601182" y="2087309"/>
                        <a:pt x="2390489" y="2298002"/>
                      </a:cubicBezTo>
                      <a:lnTo>
                        <a:pt x="2298002" y="2390490"/>
                      </a:lnTo>
                      <a:cubicBezTo>
                        <a:pt x="2192655" y="2495836"/>
                        <a:pt x="2054352" y="2548509"/>
                        <a:pt x="1915954" y="2548509"/>
                      </a:cubicBezTo>
                      <a:close/>
                      <a:moveTo>
                        <a:pt x="1688783" y="2235613"/>
                      </a:moveTo>
                      <a:cubicBezTo>
                        <a:pt x="1814036" y="2360867"/>
                        <a:pt x="2017776" y="2360867"/>
                        <a:pt x="2143030" y="2235613"/>
                      </a:cubicBezTo>
                      <a:lnTo>
                        <a:pt x="2235518" y="2143125"/>
                      </a:lnTo>
                      <a:cubicBezTo>
                        <a:pt x="2360771" y="2017871"/>
                        <a:pt x="2360771" y="1814132"/>
                        <a:pt x="2235518" y="1688878"/>
                      </a:cubicBezTo>
                      <a:lnTo>
                        <a:pt x="856583" y="309944"/>
                      </a:lnTo>
                      <a:lnTo>
                        <a:pt x="309848" y="856679"/>
                      </a:lnTo>
                      <a:lnTo>
                        <a:pt x="1688783" y="2235613"/>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45" name="Freeform: Shape 344">
                  <a:extLst>
                    <a:ext uri="{FF2B5EF4-FFF2-40B4-BE49-F238E27FC236}">
                      <a16:creationId xmlns:a16="http://schemas.microsoft.com/office/drawing/2014/main" id="{A0320608-262E-9016-60F6-8F97201E699D}"/>
                    </a:ext>
                  </a:extLst>
                </p:cNvPr>
                <p:cNvSpPr/>
                <p:nvPr/>
              </p:nvSpPr>
              <p:spPr>
                <a:xfrm rot="18900000">
                  <a:off x="7083819" y="4570171"/>
                  <a:ext cx="21644" cy="194756"/>
                </a:xfrm>
                <a:custGeom>
                  <a:avLst/>
                  <a:gdLst>
                    <a:gd name="connsiteX0" fmla="*/ 0 w 219075"/>
                    <a:gd name="connsiteY0" fmla="*/ 0 h 1971294"/>
                    <a:gd name="connsiteX1" fmla="*/ 219075 w 219075"/>
                    <a:gd name="connsiteY1" fmla="*/ 0 h 1971294"/>
                    <a:gd name="connsiteX2" fmla="*/ 219075 w 219075"/>
                    <a:gd name="connsiteY2" fmla="*/ 1971295 h 1971294"/>
                    <a:gd name="connsiteX3" fmla="*/ 0 w 219075"/>
                    <a:gd name="connsiteY3" fmla="*/ 1971295 h 1971294"/>
                  </a:gdLst>
                  <a:ahLst/>
                  <a:cxnLst>
                    <a:cxn ang="0">
                      <a:pos x="connsiteX0" y="connsiteY0"/>
                    </a:cxn>
                    <a:cxn ang="0">
                      <a:pos x="connsiteX1" y="connsiteY1"/>
                    </a:cxn>
                    <a:cxn ang="0">
                      <a:pos x="connsiteX2" y="connsiteY2"/>
                    </a:cxn>
                    <a:cxn ang="0">
                      <a:pos x="connsiteX3" y="connsiteY3"/>
                    </a:cxn>
                  </a:cxnLst>
                  <a:rect l="l" t="t" r="r" b="b"/>
                  <a:pathLst>
                    <a:path w="219075" h="1971294">
                      <a:moveTo>
                        <a:pt x="0" y="0"/>
                      </a:moveTo>
                      <a:lnTo>
                        <a:pt x="219075" y="0"/>
                      </a:lnTo>
                      <a:lnTo>
                        <a:pt x="219075" y="1971295"/>
                      </a:lnTo>
                      <a:lnTo>
                        <a:pt x="0" y="1971295"/>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46" name="Freeform: Shape 345">
                  <a:extLst>
                    <a:ext uri="{FF2B5EF4-FFF2-40B4-BE49-F238E27FC236}">
                      <a16:creationId xmlns:a16="http://schemas.microsoft.com/office/drawing/2014/main" id="{83C4057F-8475-DC20-E5AD-0D848B294648}"/>
                    </a:ext>
                  </a:extLst>
                </p:cNvPr>
                <p:cNvSpPr/>
                <p:nvPr/>
              </p:nvSpPr>
              <p:spPr>
                <a:xfrm>
                  <a:off x="6936778" y="4505581"/>
                  <a:ext cx="130266" cy="130267"/>
                </a:xfrm>
                <a:custGeom>
                  <a:avLst/>
                  <a:gdLst>
                    <a:gd name="connsiteX0" fmla="*/ 615601 w 1318545"/>
                    <a:gd name="connsiteY0" fmla="*/ 1318451 h 1318545"/>
                    <a:gd name="connsiteX1" fmla="*/ 0 w 1318545"/>
                    <a:gd name="connsiteY1" fmla="*/ 372142 h 1318545"/>
                    <a:gd name="connsiteX2" fmla="*/ 372237 w 1318545"/>
                    <a:gd name="connsiteY2" fmla="*/ 0 h 1318545"/>
                    <a:gd name="connsiteX3" fmla="*/ 1318546 w 1318545"/>
                    <a:gd name="connsiteY3" fmla="*/ 615696 h 1318545"/>
                    <a:gd name="connsiteX4" fmla="*/ 615696 w 1318545"/>
                    <a:gd name="connsiteY4" fmla="*/ 1318546 h 1318545"/>
                    <a:gd name="connsiteX5" fmla="*/ 280416 w 1318545"/>
                    <a:gd name="connsiteY5" fmla="*/ 401574 h 1318545"/>
                    <a:gd name="connsiteX6" fmla="*/ 651796 w 1318545"/>
                    <a:gd name="connsiteY6" fmla="*/ 972503 h 1318545"/>
                    <a:gd name="connsiteX7" fmla="*/ 972407 w 1318545"/>
                    <a:gd name="connsiteY7" fmla="*/ 651891 h 1318545"/>
                    <a:gd name="connsiteX8" fmla="*/ 401574 w 1318545"/>
                    <a:gd name="connsiteY8" fmla="*/ 280416 h 1318545"/>
                    <a:gd name="connsiteX9" fmla="*/ 280511 w 1318545"/>
                    <a:gd name="connsiteY9" fmla="*/ 401479 h 1318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8545" h="1318545">
                      <a:moveTo>
                        <a:pt x="615601" y="1318451"/>
                      </a:moveTo>
                      <a:lnTo>
                        <a:pt x="0" y="372142"/>
                      </a:lnTo>
                      <a:lnTo>
                        <a:pt x="372237" y="0"/>
                      </a:lnTo>
                      <a:lnTo>
                        <a:pt x="1318546" y="615696"/>
                      </a:lnTo>
                      <a:lnTo>
                        <a:pt x="615696" y="1318546"/>
                      </a:lnTo>
                      <a:close/>
                      <a:moveTo>
                        <a:pt x="280416" y="401574"/>
                      </a:moveTo>
                      <a:lnTo>
                        <a:pt x="651796" y="972503"/>
                      </a:lnTo>
                      <a:lnTo>
                        <a:pt x="972407" y="651891"/>
                      </a:lnTo>
                      <a:lnTo>
                        <a:pt x="401574" y="280416"/>
                      </a:lnTo>
                      <a:lnTo>
                        <a:pt x="280511" y="401479"/>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47" name="Freeform: Shape 346">
                  <a:extLst>
                    <a:ext uri="{FF2B5EF4-FFF2-40B4-BE49-F238E27FC236}">
                      <a16:creationId xmlns:a16="http://schemas.microsoft.com/office/drawing/2014/main" id="{8BBD0A3A-B1AF-0CD9-82F8-A14D89DFEBC6}"/>
                    </a:ext>
                  </a:extLst>
                </p:cNvPr>
                <p:cNvSpPr/>
                <p:nvPr/>
              </p:nvSpPr>
              <p:spPr>
                <a:xfrm rot="2771399">
                  <a:off x="7001110" y="4914763"/>
                  <a:ext cx="31412" cy="31411"/>
                </a:xfrm>
                <a:custGeom>
                  <a:avLst/>
                  <a:gdLst>
                    <a:gd name="connsiteX0" fmla="*/ 0 w 317944"/>
                    <a:gd name="connsiteY0" fmla="*/ 0 h 317944"/>
                    <a:gd name="connsiteX1" fmla="*/ 317944 w 317944"/>
                    <a:gd name="connsiteY1" fmla="*/ 0 h 317944"/>
                    <a:gd name="connsiteX2" fmla="*/ 317944 w 317944"/>
                    <a:gd name="connsiteY2" fmla="*/ 317944 h 317944"/>
                    <a:gd name="connsiteX3" fmla="*/ 0 w 317944"/>
                    <a:gd name="connsiteY3" fmla="*/ 317944 h 317944"/>
                  </a:gdLst>
                  <a:ahLst/>
                  <a:cxnLst>
                    <a:cxn ang="0">
                      <a:pos x="connsiteX0" y="connsiteY0"/>
                    </a:cxn>
                    <a:cxn ang="0">
                      <a:pos x="connsiteX1" y="connsiteY1"/>
                    </a:cxn>
                    <a:cxn ang="0">
                      <a:pos x="connsiteX2" y="connsiteY2"/>
                    </a:cxn>
                    <a:cxn ang="0">
                      <a:pos x="connsiteX3" y="connsiteY3"/>
                    </a:cxn>
                  </a:cxnLst>
                  <a:rect l="l" t="t" r="r" b="b"/>
                  <a:pathLst>
                    <a:path w="317944" h="317944">
                      <a:moveTo>
                        <a:pt x="0" y="0"/>
                      </a:moveTo>
                      <a:lnTo>
                        <a:pt x="317944" y="0"/>
                      </a:lnTo>
                      <a:lnTo>
                        <a:pt x="317944" y="317944"/>
                      </a:lnTo>
                      <a:lnTo>
                        <a:pt x="0" y="317944"/>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48" name="Freeform: Shape 347">
                  <a:extLst>
                    <a:ext uri="{FF2B5EF4-FFF2-40B4-BE49-F238E27FC236}">
                      <a16:creationId xmlns:a16="http://schemas.microsoft.com/office/drawing/2014/main" id="{F91CF5CA-A4F3-F507-81A0-C1B22C910ADC}"/>
                    </a:ext>
                  </a:extLst>
                </p:cNvPr>
                <p:cNvSpPr/>
                <p:nvPr/>
              </p:nvSpPr>
              <p:spPr>
                <a:xfrm>
                  <a:off x="6937898" y="4845692"/>
                  <a:ext cx="66088" cy="73107"/>
                </a:xfrm>
                <a:custGeom>
                  <a:avLst/>
                  <a:gdLst>
                    <a:gd name="connsiteX0" fmla="*/ 200441 w 668941"/>
                    <a:gd name="connsiteY0" fmla="*/ 0 h 739974"/>
                    <a:gd name="connsiteX1" fmla="*/ 353763 w 668941"/>
                    <a:gd name="connsiteY1" fmla="*/ 156419 h 739974"/>
                    <a:gd name="connsiteX2" fmla="*/ 306896 w 668941"/>
                    <a:gd name="connsiteY2" fmla="*/ 202002 h 739974"/>
                    <a:gd name="connsiteX3" fmla="*/ 668941 w 668941"/>
                    <a:gd name="connsiteY3" fmla="*/ 588336 h 739974"/>
                    <a:gd name="connsiteX4" fmla="*/ 510921 w 668941"/>
                    <a:gd name="connsiteY4" fmla="*/ 739974 h 739974"/>
                    <a:gd name="connsiteX5" fmla="*/ 0 w 668941"/>
                    <a:gd name="connsiteY5" fmla="*/ 194954 h 739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8941" h="739974">
                      <a:moveTo>
                        <a:pt x="200441" y="0"/>
                      </a:moveTo>
                      <a:lnTo>
                        <a:pt x="353763" y="156419"/>
                      </a:lnTo>
                      <a:lnTo>
                        <a:pt x="306896" y="202002"/>
                      </a:lnTo>
                      <a:lnTo>
                        <a:pt x="668941" y="588336"/>
                      </a:lnTo>
                      <a:lnTo>
                        <a:pt x="510921" y="739974"/>
                      </a:lnTo>
                      <a:lnTo>
                        <a:pt x="0" y="194954"/>
                      </a:lnTo>
                      <a:close/>
                    </a:path>
                  </a:pathLst>
                </a:custGeom>
                <a:gradFill>
                  <a:gsLst>
                    <a:gs pos="0">
                      <a:srgbClr val="FFFFFF"/>
                    </a:gs>
                    <a:gs pos="99000">
                      <a:srgbClr val="FFFFFF">
                        <a:lumMod val="85000"/>
                      </a:srgbClr>
                    </a:gs>
                  </a:gsLst>
                  <a:lin ang="16200000" scaled="1"/>
                </a:gra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sp>
          <p:nvSpPr>
            <p:cNvPr id="25" name="TextBox 24">
              <a:extLst>
                <a:ext uri="{FF2B5EF4-FFF2-40B4-BE49-F238E27FC236}">
                  <a16:creationId xmlns:a16="http://schemas.microsoft.com/office/drawing/2014/main" id="{5F39B3BF-BBBA-31EB-F1FE-A8B2127ECCD9}"/>
                </a:ext>
              </a:extLst>
            </p:cNvPr>
            <p:cNvSpPr txBox="1"/>
            <p:nvPr/>
          </p:nvSpPr>
          <p:spPr>
            <a:xfrm>
              <a:off x="9269954" y="2788040"/>
              <a:ext cx="563533" cy="19952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Text"/>
                  <a:sym typeface="Helvetica Neue"/>
                </a:rPr>
                <a:t>Service Call Analysis</a:t>
              </a:r>
            </a:p>
          </p:txBody>
        </p:sp>
        <p:grpSp>
          <p:nvGrpSpPr>
            <p:cNvPr id="26" name="Group 25">
              <a:extLst>
                <a:ext uri="{FF2B5EF4-FFF2-40B4-BE49-F238E27FC236}">
                  <a16:creationId xmlns:a16="http://schemas.microsoft.com/office/drawing/2014/main" id="{A61AC2C6-6378-0971-DB97-E13272F33D55}"/>
                </a:ext>
              </a:extLst>
            </p:cNvPr>
            <p:cNvGrpSpPr/>
            <p:nvPr/>
          </p:nvGrpSpPr>
          <p:grpSpPr>
            <a:xfrm>
              <a:off x="9460496" y="2561698"/>
              <a:ext cx="188571" cy="191815"/>
              <a:chOff x="4959226" y="4456531"/>
              <a:chExt cx="473045" cy="481182"/>
            </a:xfrm>
          </p:grpSpPr>
          <p:sp>
            <p:nvSpPr>
              <p:cNvPr id="331" name="Freeform: Shape 330">
                <a:extLst>
                  <a:ext uri="{FF2B5EF4-FFF2-40B4-BE49-F238E27FC236}">
                    <a16:creationId xmlns:a16="http://schemas.microsoft.com/office/drawing/2014/main" id="{D96E767E-94DE-28B2-A8C7-BE5913BFF2B8}"/>
                  </a:ext>
                </a:extLst>
              </p:cNvPr>
              <p:cNvSpPr/>
              <p:nvPr/>
            </p:nvSpPr>
            <p:spPr>
              <a:xfrm>
                <a:off x="5081444" y="4661801"/>
                <a:ext cx="11218" cy="75681"/>
              </a:xfrm>
              <a:custGeom>
                <a:avLst/>
                <a:gdLst>
                  <a:gd name="connsiteX0" fmla="*/ 0 w 11218"/>
                  <a:gd name="connsiteY0" fmla="*/ 0 h 75681"/>
                  <a:gd name="connsiteX1" fmla="*/ 11218 w 11218"/>
                  <a:gd name="connsiteY1" fmla="*/ 0 h 75681"/>
                  <a:gd name="connsiteX2" fmla="*/ 11218 w 11218"/>
                  <a:gd name="connsiteY2" fmla="*/ 75681 h 75681"/>
                  <a:gd name="connsiteX3" fmla="*/ 0 w 11218"/>
                  <a:gd name="connsiteY3" fmla="*/ 75681 h 75681"/>
                </a:gdLst>
                <a:ahLst/>
                <a:cxnLst>
                  <a:cxn ang="0">
                    <a:pos x="connsiteX0" y="connsiteY0"/>
                  </a:cxn>
                  <a:cxn ang="0">
                    <a:pos x="connsiteX1" y="connsiteY1"/>
                  </a:cxn>
                  <a:cxn ang="0">
                    <a:pos x="connsiteX2" y="connsiteY2"/>
                  </a:cxn>
                  <a:cxn ang="0">
                    <a:pos x="connsiteX3" y="connsiteY3"/>
                  </a:cxn>
                </a:cxnLst>
                <a:rect l="l" t="t" r="r" b="b"/>
                <a:pathLst>
                  <a:path w="11218" h="75681">
                    <a:moveTo>
                      <a:pt x="0" y="0"/>
                    </a:moveTo>
                    <a:lnTo>
                      <a:pt x="11218" y="0"/>
                    </a:lnTo>
                    <a:lnTo>
                      <a:pt x="11218" y="75681"/>
                    </a:lnTo>
                    <a:lnTo>
                      <a:pt x="0" y="75681"/>
                    </a:lnTo>
                    <a:close/>
                  </a:path>
                </a:pathLst>
              </a:custGeom>
              <a:solidFill>
                <a:srgbClr val="41728A"/>
              </a:solidFill>
              <a:ln w="9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32" name="Freeform: Shape 331">
                <a:extLst>
                  <a:ext uri="{FF2B5EF4-FFF2-40B4-BE49-F238E27FC236}">
                    <a16:creationId xmlns:a16="http://schemas.microsoft.com/office/drawing/2014/main" id="{DD833577-B9B1-44D5-F464-0013F6D85497}"/>
                  </a:ext>
                </a:extLst>
              </p:cNvPr>
              <p:cNvSpPr/>
              <p:nvPr/>
            </p:nvSpPr>
            <p:spPr>
              <a:xfrm>
                <a:off x="5113902" y="4618551"/>
                <a:ext cx="11218" cy="118922"/>
              </a:xfrm>
              <a:custGeom>
                <a:avLst/>
                <a:gdLst>
                  <a:gd name="connsiteX0" fmla="*/ 0 w 11218"/>
                  <a:gd name="connsiteY0" fmla="*/ 0 h 118922"/>
                  <a:gd name="connsiteX1" fmla="*/ 11218 w 11218"/>
                  <a:gd name="connsiteY1" fmla="*/ 0 h 118922"/>
                  <a:gd name="connsiteX2" fmla="*/ 11218 w 11218"/>
                  <a:gd name="connsiteY2" fmla="*/ 118922 h 118922"/>
                  <a:gd name="connsiteX3" fmla="*/ 0 w 11218"/>
                  <a:gd name="connsiteY3" fmla="*/ 118922 h 118922"/>
                </a:gdLst>
                <a:ahLst/>
                <a:cxnLst>
                  <a:cxn ang="0">
                    <a:pos x="connsiteX0" y="connsiteY0"/>
                  </a:cxn>
                  <a:cxn ang="0">
                    <a:pos x="connsiteX1" y="connsiteY1"/>
                  </a:cxn>
                  <a:cxn ang="0">
                    <a:pos x="connsiteX2" y="connsiteY2"/>
                  </a:cxn>
                  <a:cxn ang="0">
                    <a:pos x="connsiteX3" y="connsiteY3"/>
                  </a:cxn>
                </a:cxnLst>
                <a:rect l="l" t="t" r="r" b="b"/>
                <a:pathLst>
                  <a:path w="11218" h="118922">
                    <a:moveTo>
                      <a:pt x="0" y="0"/>
                    </a:moveTo>
                    <a:lnTo>
                      <a:pt x="11218" y="0"/>
                    </a:lnTo>
                    <a:lnTo>
                      <a:pt x="11218" y="118922"/>
                    </a:lnTo>
                    <a:lnTo>
                      <a:pt x="0" y="118922"/>
                    </a:lnTo>
                    <a:close/>
                  </a:path>
                </a:pathLst>
              </a:custGeom>
              <a:solidFill>
                <a:srgbClr val="41728A"/>
              </a:solidFill>
              <a:ln w="9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33" name="Freeform: Shape 332">
                <a:extLst>
                  <a:ext uri="{FF2B5EF4-FFF2-40B4-BE49-F238E27FC236}">
                    <a16:creationId xmlns:a16="http://schemas.microsoft.com/office/drawing/2014/main" id="{78666B6D-F2B3-04E4-A3BD-4E6D2821B77B}"/>
                  </a:ext>
                </a:extLst>
              </p:cNvPr>
              <p:cNvSpPr/>
              <p:nvPr/>
            </p:nvSpPr>
            <p:spPr>
              <a:xfrm>
                <a:off x="5146361" y="4596930"/>
                <a:ext cx="11218" cy="140551"/>
              </a:xfrm>
              <a:custGeom>
                <a:avLst/>
                <a:gdLst>
                  <a:gd name="connsiteX0" fmla="*/ 0 w 11218"/>
                  <a:gd name="connsiteY0" fmla="*/ 0 h 140551"/>
                  <a:gd name="connsiteX1" fmla="*/ 11218 w 11218"/>
                  <a:gd name="connsiteY1" fmla="*/ 0 h 140551"/>
                  <a:gd name="connsiteX2" fmla="*/ 11218 w 11218"/>
                  <a:gd name="connsiteY2" fmla="*/ 140552 h 140551"/>
                  <a:gd name="connsiteX3" fmla="*/ 0 w 11218"/>
                  <a:gd name="connsiteY3" fmla="*/ 140552 h 140551"/>
                </a:gdLst>
                <a:ahLst/>
                <a:cxnLst>
                  <a:cxn ang="0">
                    <a:pos x="connsiteX0" y="connsiteY0"/>
                  </a:cxn>
                  <a:cxn ang="0">
                    <a:pos x="connsiteX1" y="connsiteY1"/>
                  </a:cxn>
                  <a:cxn ang="0">
                    <a:pos x="connsiteX2" y="connsiteY2"/>
                  </a:cxn>
                  <a:cxn ang="0">
                    <a:pos x="connsiteX3" y="connsiteY3"/>
                  </a:cxn>
                </a:cxnLst>
                <a:rect l="l" t="t" r="r" b="b"/>
                <a:pathLst>
                  <a:path w="11218" h="140551">
                    <a:moveTo>
                      <a:pt x="0" y="0"/>
                    </a:moveTo>
                    <a:lnTo>
                      <a:pt x="11218" y="0"/>
                    </a:lnTo>
                    <a:lnTo>
                      <a:pt x="11218" y="140552"/>
                    </a:lnTo>
                    <a:lnTo>
                      <a:pt x="0" y="140552"/>
                    </a:lnTo>
                    <a:close/>
                  </a:path>
                </a:pathLst>
              </a:custGeom>
              <a:solidFill>
                <a:srgbClr val="41728A"/>
              </a:solidFill>
              <a:ln w="9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34" name="Freeform: Shape 333">
                <a:extLst>
                  <a:ext uri="{FF2B5EF4-FFF2-40B4-BE49-F238E27FC236}">
                    <a16:creationId xmlns:a16="http://schemas.microsoft.com/office/drawing/2014/main" id="{50CC23FF-2BE0-8A52-F02F-280384F9D51D}"/>
                  </a:ext>
                </a:extLst>
              </p:cNvPr>
              <p:cNvSpPr/>
              <p:nvPr/>
            </p:nvSpPr>
            <p:spPr>
              <a:xfrm>
                <a:off x="5178829" y="4629361"/>
                <a:ext cx="11218" cy="108111"/>
              </a:xfrm>
              <a:custGeom>
                <a:avLst/>
                <a:gdLst>
                  <a:gd name="connsiteX0" fmla="*/ 0 w 11218"/>
                  <a:gd name="connsiteY0" fmla="*/ 0 h 108111"/>
                  <a:gd name="connsiteX1" fmla="*/ 11218 w 11218"/>
                  <a:gd name="connsiteY1" fmla="*/ 0 h 108111"/>
                  <a:gd name="connsiteX2" fmla="*/ 11218 w 11218"/>
                  <a:gd name="connsiteY2" fmla="*/ 108112 h 108111"/>
                  <a:gd name="connsiteX3" fmla="*/ 0 w 11218"/>
                  <a:gd name="connsiteY3" fmla="*/ 108112 h 108111"/>
                </a:gdLst>
                <a:ahLst/>
                <a:cxnLst>
                  <a:cxn ang="0">
                    <a:pos x="connsiteX0" y="connsiteY0"/>
                  </a:cxn>
                  <a:cxn ang="0">
                    <a:pos x="connsiteX1" y="connsiteY1"/>
                  </a:cxn>
                  <a:cxn ang="0">
                    <a:pos x="connsiteX2" y="connsiteY2"/>
                  </a:cxn>
                  <a:cxn ang="0">
                    <a:pos x="connsiteX3" y="connsiteY3"/>
                  </a:cxn>
                </a:cxnLst>
                <a:rect l="l" t="t" r="r" b="b"/>
                <a:pathLst>
                  <a:path w="11218" h="108111">
                    <a:moveTo>
                      <a:pt x="0" y="0"/>
                    </a:moveTo>
                    <a:lnTo>
                      <a:pt x="11218" y="0"/>
                    </a:lnTo>
                    <a:lnTo>
                      <a:pt x="11218" y="108112"/>
                    </a:lnTo>
                    <a:lnTo>
                      <a:pt x="0" y="108112"/>
                    </a:lnTo>
                    <a:close/>
                  </a:path>
                </a:pathLst>
              </a:custGeom>
              <a:solidFill>
                <a:srgbClr val="41728A"/>
              </a:solidFill>
              <a:ln w="9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35" name="Freeform: Shape 334">
                <a:extLst>
                  <a:ext uri="{FF2B5EF4-FFF2-40B4-BE49-F238E27FC236}">
                    <a16:creationId xmlns:a16="http://schemas.microsoft.com/office/drawing/2014/main" id="{9A42FAFD-D6AC-4005-E2A8-30FFE1DE8473}"/>
                  </a:ext>
                </a:extLst>
              </p:cNvPr>
              <p:cNvSpPr/>
              <p:nvPr/>
            </p:nvSpPr>
            <p:spPr>
              <a:xfrm>
                <a:off x="5211288" y="4542870"/>
                <a:ext cx="11218" cy="194603"/>
              </a:xfrm>
              <a:custGeom>
                <a:avLst/>
                <a:gdLst>
                  <a:gd name="connsiteX0" fmla="*/ 0 w 11218"/>
                  <a:gd name="connsiteY0" fmla="*/ 0 h 194603"/>
                  <a:gd name="connsiteX1" fmla="*/ 11218 w 11218"/>
                  <a:gd name="connsiteY1" fmla="*/ 0 h 194603"/>
                  <a:gd name="connsiteX2" fmla="*/ 11218 w 11218"/>
                  <a:gd name="connsiteY2" fmla="*/ 194603 h 194603"/>
                  <a:gd name="connsiteX3" fmla="*/ 0 w 11218"/>
                  <a:gd name="connsiteY3" fmla="*/ 194603 h 194603"/>
                </a:gdLst>
                <a:ahLst/>
                <a:cxnLst>
                  <a:cxn ang="0">
                    <a:pos x="connsiteX0" y="connsiteY0"/>
                  </a:cxn>
                  <a:cxn ang="0">
                    <a:pos x="connsiteX1" y="connsiteY1"/>
                  </a:cxn>
                  <a:cxn ang="0">
                    <a:pos x="connsiteX2" y="connsiteY2"/>
                  </a:cxn>
                  <a:cxn ang="0">
                    <a:pos x="connsiteX3" y="connsiteY3"/>
                  </a:cxn>
                </a:cxnLst>
                <a:rect l="l" t="t" r="r" b="b"/>
                <a:pathLst>
                  <a:path w="11218" h="194603">
                    <a:moveTo>
                      <a:pt x="0" y="0"/>
                    </a:moveTo>
                    <a:lnTo>
                      <a:pt x="11218" y="0"/>
                    </a:lnTo>
                    <a:lnTo>
                      <a:pt x="11218" y="194603"/>
                    </a:lnTo>
                    <a:lnTo>
                      <a:pt x="0" y="194603"/>
                    </a:lnTo>
                    <a:close/>
                  </a:path>
                </a:pathLst>
              </a:custGeom>
              <a:solidFill>
                <a:srgbClr val="41728A"/>
              </a:solidFill>
              <a:ln w="9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36" name="Freeform: Shape 335">
                <a:extLst>
                  <a:ext uri="{FF2B5EF4-FFF2-40B4-BE49-F238E27FC236}">
                    <a16:creationId xmlns:a16="http://schemas.microsoft.com/office/drawing/2014/main" id="{8492AF4B-2D9E-890E-7556-8A81474EEACD}"/>
                  </a:ext>
                </a:extLst>
              </p:cNvPr>
              <p:cNvSpPr/>
              <p:nvPr/>
            </p:nvSpPr>
            <p:spPr>
              <a:xfrm>
                <a:off x="5243747" y="4672612"/>
                <a:ext cx="11218" cy="64870"/>
              </a:xfrm>
              <a:custGeom>
                <a:avLst/>
                <a:gdLst>
                  <a:gd name="connsiteX0" fmla="*/ 0 w 11218"/>
                  <a:gd name="connsiteY0" fmla="*/ 0 h 64870"/>
                  <a:gd name="connsiteX1" fmla="*/ 11218 w 11218"/>
                  <a:gd name="connsiteY1" fmla="*/ 0 h 64870"/>
                  <a:gd name="connsiteX2" fmla="*/ 11218 w 11218"/>
                  <a:gd name="connsiteY2" fmla="*/ 64871 h 64870"/>
                  <a:gd name="connsiteX3" fmla="*/ 0 w 11218"/>
                  <a:gd name="connsiteY3" fmla="*/ 64871 h 64870"/>
                </a:gdLst>
                <a:ahLst/>
                <a:cxnLst>
                  <a:cxn ang="0">
                    <a:pos x="connsiteX0" y="connsiteY0"/>
                  </a:cxn>
                  <a:cxn ang="0">
                    <a:pos x="connsiteX1" y="connsiteY1"/>
                  </a:cxn>
                  <a:cxn ang="0">
                    <a:pos x="connsiteX2" y="connsiteY2"/>
                  </a:cxn>
                  <a:cxn ang="0">
                    <a:pos x="connsiteX3" y="connsiteY3"/>
                  </a:cxn>
                </a:cxnLst>
                <a:rect l="l" t="t" r="r" b="b"/>
                <a:pathLst>
                  <a:path w="11218" h="64870">
                    <a:moveTo>
                      <a:pt x="0" y="0"/>
                    </a:moveTo>
                    <a:lnTo>
                      <a:pt x="11218" y="0"/>
                    </a:lnTo>
                    <a:lnTo>
                      <a:pt x="11218" y="64871"/>
                    </a:lnTo>
                    <a:lnTo>
                      <a:pt x="0" y="64871"/>
                    </a:lnTo>
                    <a:close/>
                  </a:path>
                </a:pathLst>
              </a:custGeom>
              <a:solidFill>
                <a:srgbClr val="41728A"/>
              </a:solidFill>
              <a:ln w="9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37" name="Freeform: Shape 336">
                <a:extLst>
                  <a:ext uri="{FF2B5EF4-FFF2-40B4-BE49-F238E27FC236}">
                    <a16:creationId xmlns:a16="http://schemas.microsoft.com/office/drawing/2014/main" id="{737623EE-D0F5-42EE-BF0D-86F8EEAC998F}"/>
                  </a:ext>
                </a:extLst>
              </p:cNvPr>
              <p:cNvSpPr/>
              <p:nvPr/>
            </p:nvSpPr>
            <p:spPr>
              <a:xfrm>
                <a:off x="4959226" y="4456531"/>
                <a:ext cx="420227" cy="420226"/>
              </a:xfrm>
              <a:custGeom>
                <a:avLst/>
                <a:gdLst>
                  <a:gd name="connsiteX0" fmla="*/ 210118 w 420227"/>
                  <a:gd name="connsiteY0" fmla="*/ 420227 h 420226"/>
                  <a:gd name="connsiteX1" fmla="*/ 61547 w 420227"/>
                  <a:gd name="connsiteY1" fmla="*/ 358689 h 420226"/>
                  <a:gd name="connsiteX2" fmla="*/ 0 w 420227"/>
                  <a:gd name="connsiteY2" fmla="*/ 210118 h 420226"/>
                  <a:gd name="connsiteX3" fmla="*/ 61538 w 420227"/>
                  <a:gd name="connsiteY3" fmla="*/ 61537 h 420226"/>
                  <a:gd name="connsiteX4" fmla="*/ 210118 w 420227"/>
                  <a:gd name="connsiteY4" fmla="*/ 0 h 420226"/>
                  <a:gd name="connsiteX5" fmla="*/ 358690 w 420227"/>
                  <a:gd name="connsiteY5" fmla="*/ 61537 h 420226"/>
                  <a:gd name="connsiteX6" fmla="*/ 420227 w 420227"/>
                  <a:gd name="connsiteY6" fmla="*/ 210109 h 420226"/>
                  <a:gd name="connsiteX7" fmla="*/ 358690 w 420227"/>
                  <a:gd name="connsiteY7" fmla="*/ 358680 h 420226"/>
                  <a:gd name="connsiteX8" fmla="*/ 210118 w 420227"/>
                  <a:gd name="connsiteY8" fmla="*/ 420217 h 420226"/>
                  <a:gd name="connsiteX9" fmla="*/ 210118 w 420227"/>
                  <a:gd name="connsiteY9" fmla="*/ 22029 h 420226"/>
                  <a:gd name="connsiteX10" fmla="*/ 22029 w 420227"/>
                  <a:gd name="connsiteY10" fmla="*/ 210118 h 420226"/>
                  <a:gd name="connsiteX11" fmla="*/ 210118 w 420227"/>
                  <a:gd name="connsiteY11" fmla="*/ 398207 h 420226"/>
                  <a:gd name="connsiteX12" fmla="*/ 398208 w 420227"/>
                  <a:gd name="connsiteY12" fmla="*/ 210118 h 420226"/>
                  <a:gd name="connsiteX13" fmla="*/ 210118 w 420227"/>
                  <a:gd name="connsiteY13" fmla="*/ 22029 h 42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0227" h="420226">
                    <a:moveTo>
                      <a:pt x="210118" y="420227"/>
                    </a:moveTo>
                    <a:cubicBezTo>
                      <a:pt x="153992" y="420227"/>
                      <a:pt x="101228" y="398370"/>
                      <a:pt x="61547" y="358689"/>
                    </a:cubicBezTo>
                    <a:cubicBezTo>
                      <a:pt x="21857" y="318999"/>
                      <a:pt x="0" y="266235"/>
                      <a:pt x="0" y="210118"/>
                    </a:cubicBezTo>
                    <a:cubicBezTo>
                      <a:pt x="0" y="154002"/>
                      <a:pt x="21857" y="101228"/>
                      <a:pt x="61538" y="61537"/>
                    </a:cubicBezTo>
                    <a:cubicBezTo>
                      <a:pt x="101218" y="21847"/>
                      <a:pt x="153992" y="0"/>
                      <a:pt x="210118" y="0"/>
                    </a:cubicBezTo>
                    <a:cubicBezTo>
                      <a:pt x="266244" y="0"/>
                      <a:pt x="319009" y="21857"/>
                      <a:pt x="358690" y="61537"/>
                    </a:cubicBezTo>
                    <a:cubicBezTo>
                      <a:pt x="398370" y="101218"/>
                      <a:pt x="420227" y="153992"/>
                      <a:pt x="420227" y="210109"/>
                    </a:cubicBezTo>
                    <a:cubicBezTo>
                      <a:pt x="420227" y="266225"/>
                      <a:pt x="398370" y="318999"/>
                      <a:pt x="358690" y="358680"/>
                    </a:cubicBezTo>
                    <a:cubicBezTo>
                      <a:pt x="318999" y="398361"/>
                      <a:pt x="266235" y="420217"/>
                      <a:pt x="210118" y="420217"/>
                    </a:cubicBezTo>
                    <a:close/>
                    <a:moveTo>
                      <a:pt x="210118" y="22029"/>
                    </a:moveTo>
                    <a:cubicBezTo>
                      <a:pt x="106400" y="22029"/>
                      <a:pt x="22029" y="106400"/>
                      <a:pt x="22029" y="210118"/>
                    </a:cubicBezTo>
                    <a:cubicBezTo>
                      <a:pt x="22029" y="313836"/>
                      <a:pt x="106400" y="398207"/>
                      <a:pt x="210118" y="398207"/>
                    </a:cubicBezTo>
                    <a:cubicBezTo>
                      <a:pt x="313837" y="398207"/>
                      <a:pt x="398208" y="313836"/>
                      <a:pt x="398208" y="210118"/>
                    </a:cubicBezTo>
                    <a:cubicBezTo>
                      <a:pt x="398208" y="106400"/>
                      <a:pt x="313827" y="22029"/>
                      <a:pt x="210118" y="22029"/>
                    </a:cubicBezTo>
                    <a:close/>
                  </a:path>
                </a:pathLst>
              </a:custGeom>
              <a:solidFill>
                <a:srgbClr val="FFFFFF">
                  <a:lumMod val="85000"/>
                </a:srgbClr>
              </a:solidFill>
              <a:ln w="9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38" name="Freeform: Shape 337">
                <a:extLst>
                  <a:ext uri="{FF2B5EF4-FFF2-40B4-BE49-F238E27FC236}">
                    <a16:creationId xmlns:a16="http://schemas.microsoft.com/office/drawing/2014/main" id="{4AA5C49F-24E5-C034-859E-34145AC368CA}"/>
                  </a:ext>
                </a:extLst>
              </p:cNvPr>
              <p:cNvSpPr/>
              <p:nvPr/>
            </p:nvSpPr>
            <p:spPr>
              <a:xfrm rot="18962401">
                <a:off x="5341875" y="4791339"/>
                <a:ext cx="22029" cy="129262"/>
              </a:xfrm>
              <a:custGeom>
                <a:avLst/>
                <a:gdLst>
                  <a:gd name="connsiteX0" fmla="*/ 0 w 22029"/>
                  <a:gd name="connsiteY0" fmla="*/ 0 h 129262"/>
                  <a:gd name="connsiteX1" fmla="*/ 22029 w 22029"/>
                  <a:gd name="connsiteY1" fmla="*/ 0 h 129262"/>
                  <a:gd name="connsiteX2" fmla="*/ 22029 w 22029"/>
                  <a:gd name="connsiteY2" fmla="*/ 129262 h 129262"/>
                  <a:gd name="connsiteX3" fmla="*/ 0 w 22029"/>
                  <a:gd name="connsiteY3" fmla="*/ 129262 h 129262"/>
                </a:gdLst>
                <a:ahLst/>
                <a:cxnLst>
                  <a:cxn ang="0">
                    <a:pos x="connsiteX0" y="connsiteY0"/>
                  </a:cxn>
                  <a:cxn ang="0">
                    <a:pos x="connsiteX1" y="connsiteY1"/>
                  </a:cxn>
                  <a:cxn ang="0">
                    <a:pos x="connsiteX2" y="connsiteY2"/>
                  </a:cxn>
                  <a:cxn ang="0">
                    <a:pos x="connsiteX3" y="connsiteY3"/>
                  </a:cxn>
                </a:cxnLst>
                <a:rect l="l" t="t" r="r" b="b"/>
                <a:pathLst>
                  <a:path w="22029" h="129262">
                    <a:moveTo>
                      <a:pt x="0" y="0"/>
                    </a:moveTo>
                    <a:lnTo>
                      <a:pt x="22029" y="0"/>
                    </a:lnTo>
                    <a:lnTo>
                      <a:pt x="22029" y="129262"/>
                    </a:lnTo>
                    <a:lnTo>
                      <a:pt x="0" y="129262"/>
                    </a:lnTo>
                    <a:close/>
                  </a:path>
                </a:pathLst>
              </a:custGeom>
              <a:gradFill>
                <a:gsLst>
                  <a:gs pos="0">
                    <a:srgbClr val="FFFFFF"/>
                  </a:gs>
                  <a:gs pos="99000">
                    <a:srgbClr val="FFFFFF">
                      <a:lumMod val="85000"/>
                    </a:srgbClr>
                  </a:gs>
                </a:gsLst>
                <a:lin ang="16200000" scaled="1"/>
              </a:gra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39" name="Freeform: Shape 338">
                <a:extLst>
                  <a:ext uri="{FF2B5EF4-FFF2-40B4-BE49-F238E27FC236}">
                    <a16:creationId xmlns:a16="http://schemas.microsoft.com/office/drawing/2014/main" id="{CBE05AA4-E260-4F11-D829-1E7F051A54B2}"/>
                  </a:ext>
                </a:extLst>
              </p:cNvPr>
              <p:cNvSpPr/>
              <p:nvPr/>
            </p:nvSpPr>
            <p:spPr>
              <a:xfrm rot="2772600">
                <a:off x="5400703" y="4906145"/>
                <a:ext cx="31568" cy="31568"/>
              </a:xfrm>
              <a:custGeom>
                <a:avLst/>
                <a:gdLst>
                  <a:gd name="connsiteX0" fmla="*/ 0 w 31568"/>
                  <a:gd name="connsiteY0" fmla="*/ 0 h 31568"/>
                  <a:gd name="connsiteX1" fmla="*/ 31568 w 31568"/>
                  <a:gd name="connsiteY1" fmla="*/ 0 h 31568"/>
                  <a:gd name="connsiteX2" fmla="*/ 31568 w 31568"/>
                  <a:gd name="connsiteY2" fmla="*/ 31568 h 31568"/>
                  <a:gd name="connsiteX3" fmla="*/ 0 w 31568"/>
                  <a:gd name="connsiteY3" fmla="*/ 31568 h 31568"/>
                </a:gdLst>
                <a:ahLst/>
                <a:cxnLst>
                  <a:cxn ang="0">
                    <a:pos x="connsiteX0" y="connsiteY0"/>
                  </a:cxn>
                  <a:cxn ang="0">
                    <a:pos x="connsiteX1" y="connsiteY1"/>
                  </a:cxn>
                  <a:cxn ang="0">
                    <a:pos x="connsiteX2" y="connsiteY2"/>
                  </a:cxn>
                  <a:cxn ang="0">
                    <a:pos x="connsiteX3" y="connsiteY3"/>
                  </a:cxn>
                </a:cxnLst>
                <a:rect l="l" t="t" r="r" b="b"/>
                <a:pathLst>
                  <a:path w="31568" h="31568">
                    <a:moveTo>
                      <a:pt x="0" y="0"/>
                    </a:moveTo>
                    <a:lnTo>
                      <a:pt x="31568" y="0"/>
                    </a:lnTo>
                    <a:lnTo>
                      <a:pt x="31568" y="31568"/>
                    </a:lnTo>
                    <a:lnTo>
                      <a:pt x="0" y="31568"/>
                    </a:lnTo>
                    <a:close/>
                  </a:path>
                </a:pathLst>
              </a:custGeom>
              <a:solidFill>
                <a:srgbClr val="0A6AB4"/>
              </a:solidFill>
              <a:ln w="9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nvGrpSpPr>
            <p:cNvPr id="27" name="Group 26">
              <a:extLst>
                <a:ext uri="{FF2B5EF4-FFF2-40B4-BE49-F238E27FC236}">
                  <a16:creationId xmlns:a16="http://schemas.microsoft.com/office/drawing/2014/main" id="{CEB9A468-76E0-283E-A274-F3A9582DE51D}"/>
                </a:ext>
              </a:extLst>
            </p:cNvPr>
            <p:cNvGrpSpPr/>
            <p:nvPr/>
          </p:nvGrpSpPr>
          <p:grpSpPr>
            <a:xfrm>
              <a:off x="9020802" y="1104017"/>
              <a:ext cx="234359" cy="178901"/>
              <a:chOff x="2671168" y="1551808"/>
              <a:chExt cx="587908" cy="448788"/>
            </a:xfrm>
          </p:grpSpPr>
          <p:sp>
            <p:nvSpPr>
              <p:cNvPr id="316" name="Freeform: Shape 315">
                <a:extLst>
                  <a:ext uri="{FF2B5EF4-FFF2-40B4-BE49-F238E27FC236}">
                    <a16:creationId xmlns:a16="http://schemas.microsoft.com/office/drawing/2014/main" id="{96A523D3-F68A-2C8B-8D45-99993C171280}"/>
                  </a:ext>
                </a:extLst>
              </p:cNvPr>
              <p:cNvSpPr/>
              <p:nvPr/>
            </p:nvSpPr>
            <p:spPr>
              <a:xfrm>
                <a:off x="2779268" y="1597489"/>
                <a:ext cx="13626" cy="292449"/>
              </a:xfrm>
              <a:custGeom>
                <a:avLst/>
                <a:gdLst>
                  <a:gd name="connsiteX0" fmla="*/ 0 w 27653"/>
                  <a:gd name="connsiteY0" fmla="*/ 0 h 593507"/>
                  <a:gd name="connsiteX1" fmla="*/ 27653 w 27653"/>
                  <a:gd name="connsiteY1" fmla="*/ 0 h 593507"/>
                  <a:gd name="connsiteX2" fmla="*/ 27653 w 27653"/>
                  <a:gd name="connsiteY2" fmla="*/ 593508 h 593507"/>
                  <a:gd name="connsiteX3" fmla="*/ 0 w 27653"/>
                  <a:gd name="connsiteY3" fmla="*/ 593508 h 593507"/>
                </a:gdLst>
                <a:ahLst/>
                <a:cxnLst>
                  <a:cxn ang="0">
                    <a:pos x="connsiteX0" y="connsiteY0"/>
                  </a:cxn>
                  <a:cxn ang="0">
                    <a:pos x="connsiteX1" y="connsiteY1"/>
                  </a:cxn>
                  <a:cxn ang="0">
                    <a:pos x="connsiteX2" y="connsiteY2"/>
                  </a:cxn>
                  <a:cxn ang="0">
                    <a:pos x="connsiteX3" y="connsiteY3"/>
                  </a:cxn>
                </a:cxnLst>
                <a:rect l="l" t="t" r="r" b="b"/>
                <a:pathLst>
                  <a:path w="27653" h="593507">
                    <a:moveTo>
                      <a:pt x="0" y="0"/>
                    </a:moveTo>
                    <a:lnTo>
                      <a:pt x="27653" y="0"/>
                    </a:lnTo>
                    <a:lnTo>
                      <a:pt x="27653" y="593508"/>
                    </a:lnTo>
                    <a:lnTo>
                      <a:pt x="0" y="593508"/>
                    </a:lnTo>
                    <a:close/>
                  </a:path>
                </a:pathLst>
              </a:custGeom>
              <a:solidFill>
                <a:srgbClr val="41728A"/>
              </a:solidFill>
              <a:ln w="2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17" name="Freeform: Shape 316">
                <a:extLst>
                  <a:ext uri="{FF2B5EF4-FFF2-40B4-BE49-F238E27FC236}">
                    <a16:creationId xmlns:a16="http://schemas.microsoft.com/office/drawing/2014/main" id="{314E43FA-F54B-57D3-AB18-61B997FDFF8A}"/>
                  </a:ext>
                </a:extLst>
              </p:cNvPr>
              <p:cNvSpPr/>
              <p:nvPr/>
            </p:nvSpPr>
            <p:spPr>
              <a:xfrm>
                <a:off x="2858129" y="1597489"/>
                <a:ext cx="13626" cy="292449"/>
              </a:xfrm>
              <a:custGeom>
                <a:avLst/>
                <a:gdLst>
                  <a:gd name="connsiteX0" fmla="*/ 0 w 27653"/>
                  <a:gd name="connsiteY0" fmla="*/ 0 h 593507"/>
                  <a:gd name="connsiteX1" fmla="*/ 27653 w 27653"/>
                  <a:gd name="connsiteY1" fmla="*/ 0 h 593507"/>
                  <a:gd name="connsiteX2" fmla="*/ 27653 w 27653"/>
                  <a:gd name="connsiteY2" fmla="*/ 593508 h 593507"/>
                  <a:gd name="connsiteX3" fmla="*/ 0 w 27653"/>
                  <a:gd name="connsiteY3" fmla="*/ 593508 h 593507"/>
                </a:gdLst>
                <a:ahLst/>
                <a:cxnLst>
                  <a:cxn ang="0">
                    <a:pos x="connsiteX0" y="connsiteY0"/>
                  </a:cxn>
                  <a:cxn ang="0">
                    <a:pos x="connsiteX1" y="connsiteY1"/>
                  </a:cxn>
                  <a:cxn ang="0">
                    <a:pos x="connsiteX2" y="connsiteY2"/>
                  </a:cxn>
                  <a:cxn ang="0">
                    <a:pos x="connsiteX3" y="connsiteY3"/>
                  </a:cxn>
                </a:cxnLst>
                <a:rect l="l" t="t" r="r" b="b"/>
                <a:pathLst>
                  <a:path w="27653" h="593507">
                    <a:moveTo>
                      <a:pt x="0" y="0"/>
                    </a:moveTo>
                    <a:lnTo>
                      <a:pt x="27653" y="0"/>
                    </a:lnTo>
                    <a:lnTo>
                      <a:pt x="27653" y="593508"/>
                    </a:lnTo>
                    <a:lnTo>
                      <a:pt x="0" y="593508"/>
                    </a:lnTo>
                    <a:close/>
                  </a:path>
                </a:pathLst>
              </a:custGeom>
              <a:solidFill>
                <a:srgbClr val="41728A"/>
              </a:solidFill>
              <a:ln w="2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18" name="Freeform: Shape 317">
                <a:extLst>
                  <a:ext uri="{FF2B5EF4-FFF2-40B4-BE49-F238E27FC236}">
                    <a16:creationId xmlns:a16="http://schemas.microsoft.com/office/drawing/2014/main" id="{5025DA74-BC00-B032-6696-82372555CD88}"/>
                  </a:ext>
                </a:extLst>
              </p:cNvPr>
              <p:cNvSpPr/>
              <p:nvPr/>
            </p:nvSpPr>
            <p:spPr>
              <a:xfrm>
                <a:off x="2936978" y="1597489"/>
                <a:ext cx="13626" cy="292449"/>
              </a:xfrm>
              <a:custGeom>
                <a:avLst/>
                <a:gdLst>
                  <a:gd name="connsiteX0" fmla="*/ 0 w 27653"/>
                  <a:gd name="connsiteY0" fmla="*/ 0 h 593507"/>
                  <a:gd name="connsiteX1" fmla="*/ 27653 w 27653"/>
                  <a:gd name="connsiteY1" fmla="*/ 0 h 593507"/>
                  <a:gd name="connsiteX2" fmla="*/ 27653 w 27653"/>
                  <a:gd name="connsiteY2" fmla="*/ 593508 h 593507"/>
                  <a:gd name="connsiteX3" fmla="*/ 0 w 27653"/>
                  <a:gd name="connsiteY3" fmla="*/ 593508 h 593507"/>
                </a:gdLst>
                <a:ahLst/>
                <a:cxnLst>
                  <a:cxn ang="0">
                    <a:pos x="connsiteX0" y="connsiteY0"/>
                  </a:cxn>
                  <a:cxn ang="0">
                    <a:pos x="connsiteX1" y="connsiteY1"/>
                  </a:cxn>
                  <a:cxn ang="0">
                    <a:pos x="connsiteX2" y="connsiteY2"/>
                  </a:cxn>
                  <a:cxn ang="0">
                    <a:pos x="connsiteX3" y="connsiteY3"/>
                  </a:cxn>
                </a:cxnLst>
                <a:rect l="l" t="t" r="r" b="b"/>
                <a:pathLst>
                  <a:path w="27653" h="593507">
                    <a:moveTo>
                      <a:pt x="0" y="0"/>
                    </a:moveTo>
                    <a:lnTo>
                      <a:pt x="27653" y="0"/>
                    </a:lnTo>
                    <a:lnTo>
                      <a:pt x="27653" y="593508"/>
                    </a:lnTo>
                    <a:lnTo>
                      <a:pt x="0" y="593508"/>
                    </a:lnTo>
                    <a:close/>
                  </a:path>
                </a:pathLst>
              </a:custGeom>
              <a:solidFill>
                <a:srgbClr val="41728A"/>
              </a:solidFill>
              <a:ln w="2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19" name="Freeform: Shape 318">
                <a:extLst>
                  <a:ext uri="{FF2B5EF4-FFF2-40B4-BE49-F238E27FC236}">
                    <a16:creationId xmlns:a16="http://schemas.microsoft.com/office/drawing/2014/main" id="{27C5A673-C9F7-4255-A68B-947EB69C1215}"/>
                  </a:ext>
                </a:extLst>
              </p:cNvPr>
              <p:cNvSpPr/>
              <p:nvPr/>
            </p:nvSpPr>
            <p:spPr>
              <a:xfrm>
                <a:off x="3015839" y="1597489"/>
                <a:ext cx="13626" cy="134024"/>
              </a:xfrm>
              <a:custGeom>
                <a:avLst/>
                <a:gdLst>
                  <a:gd name="connsiteX0" fmla="*/ 0 w 27653"/>
                  <a:gd name="connsiteY0" fmla="*/ 0 h 271992"/>
                  <a:gd name="connsiteX1" fmla="*/ 27653 w 27653"/>
                  <a:gd name="connsiteY1" fmla="*/ 0 h 271992"/>
                  <a:gd name="connsiteX2" fmla="*/ 27653 w 27653"/>
                  <a:gd name="connsiteY2" fmla="*/ 271993 h 271992"/>
                  <a:gd name="connsiteX3" fmla="*/ 0 w 27653"/>
                  <a:gd name="connsiteY3" fmla="*/ 271993 h 271992"/>
                </a:gdLst>
                <a:ahLst/>
                <a:cxnLst>
                  <a:cxn ang="0">
                    <a:pos x="connsiteX0" y="connsiteY0"/>
                  </a:cxn>
                  <a:cxn ang="0">
                    <a:pos x="connsiteX1" y="connsiteY1"/>
                  </a:cxn>
                  <a:cxn ang="0">
                    <a:pos x="connsiteX2" y="connsiteY2"/>
                  </a:cxn>
                  <a:cxn ang="0">
                    <a:pos x="connsiteX3" y="connsiteY3"/>
                  </a:cxn>
                </a:cxnLst>
                <a:rect l="l" t="t" r="r" b="b"/>
                <a:pathLst>
                  <a:path w="27653" h="271992">
                    <a:moveTo>
                      <a:pt x="0" y="0"/>
                    </a:moveTo>
                    <a:lnTo>
                      <a:pt x="27653" y="0"/>
                    </a:lnTo>
                    <a:lnTo>
                      <a:pt x="27653" y="271993"/>
                    </a:lnTo>
                    <a:lnTo>
                      <a:pt x="0" y="271993"/>
                    </a:lnTo>
                    <a:close/>
                  </a:path>
                </a:pathLst>
              </a:custGeom>
              <a:solidFill>
                <a:srgbClr val="41728A"/>
              </a:solidFill>
              <a:ln w="2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20" name="Freeform: Shape 319">
                <a:extLst>
                  <a:ext uri="{FF2B5EF4-FFF2-40B4-BE49-F238E27FC236}">
                    <a16:creationId xmlns:a16="http://schemas.microsoft.com/office/drawing/2014/main" id="{DFEDB8F4-C1A4-B800-8102-AE0AAA6BC4F4}"/>
                  </a:ext>
                </a:extLst>
              </p:cNvPr>
              <p:cNvSpPr/>
              <p:nvPr/>
            </p:nvSpPr>
            <p:spPr>
              <a:xfrm>
                <a:off x="3094700" y="1597489"/>
                <a:ext cx="13626" cy="93691"/>
              </a:xfrm>
              <a:custGeom>
                <a:avLst/>
                <a:gdLst>
                  <a:gd name="connsiteX0" fmla="*/ 0 w 27653"/>
                  <a:gd name="connsiteY0" fmla="*/ 0 h 190139"/>
                  <a:gd name="connsiteX1" fmla="*/ 27653 w 27653"/>
                  <a:gd name="connsiteY1" fmla="*/ 0 h 190139"/>
                  <a:gd name="connsiteX2" fmla="*/ 27653 w 27653"/>
                  <a:gd name="connsiteY2" fmla="*/ 190139 h 190139"/>
                  <a:gd name="connsiteX3" fmla="*/ 0 w 27653"/>
                  <a:gd name="connsiteY3" fmla="*/ 190139 h 190139"/>
                </a:gdLst>
                <a:ahLst/>
                <a:cxnLst>
                  <a:cxn ang="0">
                    <a:pos x="connsiteX0" y="connsiteY0"/>
                  </a:cxn>
                  <a:cxn ang="0">
                    <a:pos x="connsiteX1" y="connsiteY1"/>
                  </a:cxn>
                  <a:cxn ang="0">
                    <a:pos x="connsiteX2" y="connsiteY2"/>
                  </a:cxn>
                  <a:cxn ang="0">
                    <a:pos x="connsiteX3" y="connsiteY3"/>
                  </a:cxn>
                </a:cxnLst>
                <a:rect l="l" t="t" r="r" b="b"/>
                <a:pathLst>
                  <a:path w="27653" h="190139">
                    <a:moveTo>
                      <a:pt x="0" y="0"/>
                    </a:moveTo>
                    <a:lnTo>
                      <a:pt x="27653" y="0"/>
                    </a:lnTo>
                    <a:lnTo>
                      <a:pt x="27653" y="190139"/>
                    </a:lnTo>
                    <a:lnTo>
                      <a:pt x="0" y="190139"/>
                    </a:lnTo>
                    <a:close/>
                  </a:path>
                </a:pathLst>
              </a:custGeom>
              <a:solidFill>
                <a:srgbClr val="41728A"/>
              </a:solidFill>
              <a:ln w="2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21" name="Freeform: Shape 320">
                <a:extLst>
                  <a:ext uri="{FF2B5EF4-FFF2-40B4-BE49-F238E27FC236}">
                    <a16:creationId xmlns:a16="http://schemas.microsoft.com/office/drawing/2014/main" id="{19804243-1DF1-6174-0908-DDB3773FB54C}"/>
                  </a:ext>
                </a:extLst>
              </p:cNvPr>
              <p:cNvSpPr/>
              <p:nvPr/>
            </p:nvSpPr>
            <p:spPr>
              <a:xfrm>
                <a:off x="2681069" y="1681528"/>
                <a:ext cx="351201" cy="247813"/>
              </a:xfrm>
              <a:custGeom>
                <a:avLst/>
                <a:gdLst>
                  <a:gd name="connsiteX0" fmla="*/ 53002 w 712739"/>
                  <a:gd name="connsiteY0" fmla="*/ 449918 h 502920"/>
                  <a:gd name="connsiteX1" fmla="*/ 712739 w 712739"/>
                  <a:gd name="connsiteY1" fmla="*/ 449918 h 502920"/>
                  <a:gd name="connsiteX2" fmla="*/ 712739 w 712739"/>
                  <a:gd name="connsiteY2" fmla="*/ 502921 h 502920"/>
                  <a:gd name="connsiteX3" fmla="*/ 48785 w 712739"/>
                  <a:gd name="connsiteY3" fmla="*/ 502921 h 502920"/>
                  <a:gd name="connsiteX4" fmla="*/ 0 w 712739"/>
                  <a:gd name="connsiteY4" fmla="*/ 454136 h 502920"/>
                  <a:gd name="connsiteX5" fmla="*/ 0 w 712739"/>
                  <a:gd name="connsiteY5" fmla="*/ 0 h 502920"/>
                  <a:gd name="connsiteX6" fmla="*/ 53002 w 712739"/>
                  <a:gd name="connsiteY6" fmla="*/ 0 h 502920"/>
                  <a:gd name="connsiteX7" fmla="*/ 53002 w 712739"/>
                  <a:gd name="connsiteY7" fmla="*/ 449918 h 50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2739" h="502920">
                    <a:moveTo>
                      <a:pt x="53002" y="449918"/>
                    </a:moveTo>
                    <a:lnTo>
                      <a:pt x="712739" y="449918"/>
                    </a:lnTo>
                    <a:lnTo>
                      <a:pt x="712739" y="502921"/>
                    </a:lnTo>
                    <a:lnTo>
                      <a:pt x="48785" y="502921"/>
                    </a:lnTo>
                    <a:cubicBezTo>
                      <a:pt x="21892" y="502921"/>
                      <a:pt x="0" y="481051"/>
                      <a:pt x="0" y="454136"/>
                    </a:cubicBezTo>
                    <a:lnTo>
                      <a:pt x="0" y="0"/>
                    </a:lnTo>
                    <a:lnTo>
                      <a:pt x="53002" y="0"/>
                    </a:lnTo>
                    <a:lnTo>
                      <a:pt x="53002" y="449918"/>
                    </a:lnTo>
                    <a:close/>
                  </a:path>
                </a:pathLst>
              </a:custGeom>
              <a:solidFill>
                <a:srgbClr val="FFFFFF">
                  <a:lumMod val="85000"/>
                </a:srgbClr>
              </a:solidFill>
              <a:ln w="95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22" name="Freeform: Shape 321">
                <a:extLst>
                  <a:ext uri="{FF2B5EF4-FFF2-40B4-BE49-F238E27FC236}">
                    <a16:creationId xmlns:a16="http://schemas.microsoft.com/office/drawing/2014/main" id="{F88DFA6E-10CB-FAFC-66A8-2707F695C850}"/>
                  </a:ext>
                </a:extLst>
              </p:cNvPr>
              <p:cNvSpPr/>
              <p:nvPr/>
            </p:nvSpPr>
            <p:spPr>
              <a:xfrm>
                <a:off x="2805975" y="1560631"/>
                <a:ext cx="400549" cy="144584"/>
              </a:xfrm>
              <a:custGeom>
                <a:avLst/>
                <a:gdLst>
                  <a:gd name="connsiteX0" fmla="*/ 812890 w 812889"/>
                  <a:gd name="connsiteY0" fmla="*/ 100174 h 293424"/>
                  <a:gd name="connsiteX1" fmla="*/ 812890 w 812889"/>
                  <a:gd name="connsiteY1" fmla="*/ 293424 h 293424"/>
                  <a:gd name="connsiteX2" fmla="*/ 759888 w 812889"/>
                  <a:gd name="connsiteY2" fmla="*/ 293424 h 293424"/>
                  <a:gd name="connsiteX3" fmla="*/ 759888 w 812889"/>
                  <a:gd name="connsiteY3" fmla="*/ 100174 h 293424"/>
                  <a:gd name="connsiteX4" fmla="*/ 712716 w 812889"/>
                  <a:gd name="connsiteY4" fmla="*/ 53002 h 293424"/>
                  <a:gd name="connsiteX5" fmla="*/ 0 w 812889"/>
                  <a:gd name="connsiteY5" fmla="*/ 53002 h 293424"/>
                  <a:gd name="connsiteX6" fmla="*/ 0 w 812889"/>
                  <a:gd name="connsiteY6" fmla="*/ 0 h 293424"/>
                  <a:gd name="connsiteX7" fmla="*/ 712716 w 812889"/>
                  <a:gd name="connsiteY7" fmla="*/ 0 h 293424"/>
                  <a:gd name="connsiteX8" fmla="*/ 812890 w 812889"/>
                  <a:gd name="connsiteY8" fmla="*/ 100174 h 29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889" h="293424">
                    <a:moveTo>
                      <a:pt x="812890" y="100174"/>
                    </a:moveTo>
                    <a:lnTo>
                      <a:pt x="812890" y="293424"/>
                    </a:lnTo>
                    <a:lnTo>
                      <a:pt x="759888" y="293424"/>
                    </a:lnTo>
                    <a:lnTo>
                      <a:pt x="759888" y="100174"/>
                    </a:lnTo>
                    <a:cubicBezTo>
                      <a:pt x="759888" y="74157"/>
                      <a:pt x="738733" y="53002"/>
                      <a:pt x="712716" y="53002"/>
                    </a:cubicBezTo>
                    <a:lnTo>
                      <a:pt x="0" y="53002"/>
                    </a:lnTo>
                    <a:lnTo>
                      <a:pt x="0" y="0"/>
                    </a:lnTo>
                    <a:lnTo>
                      <a:pt x="712716" y="0"/>
                    </a:lnTo>
                    <a:cubicBezTo>
                      <a:pt x="767953" y="0"/>
                      <a:pt x="812890" y="44937"/>
                      <a:pt x="812890" y="100174"/>
                    </a:cubicBezTo>
                    <a:close/>
                  </a:path>
                </a:pathLst>
              </a:custGeom>
              <a:solidFill>
                <a:srgbClr val="FFFFFF">
                  <a:lumMod val="85000"/>
                </a:srgbClr>
              </a:solidFill>
              <a:ln w="95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23" name="Freeform: Shape 322">
                <a:extLst>
                  <a:ext uri="{FF2B5EF4-FFF2-40B4-BE49-F238E27FC236}">
                    <a16:creationId xmlns:a16="http://schemas.microsoft.com/office/drawing/2014/main" id="{502800BF-E634-8892-77B3-29CD3139C05B}"/>
                  </a:ext>
                </a:extLst>
              </p:cNvPr>
              <p:cNvSpPr/>
              <p:nvPr/>
            </p:nvSpPr>
            <p:spPr>
              <a:xfrm>
                <a:off x="2720403" y="1659091"/>
                <a:ext cx="446776" cy="13626"/>
              </a:xfrm>
              <a:custGeom>
                <a:avLst/>
                <a:gdLst>
                  <a:gd name="connsiteX0" fmla="*/ 0 w 906703"/>
                  <a:gd name="connsiteY0" fmla="*/ 0 h 27653"/>
                  <a:gd name="connsiteX1" fmla="*/ 906704 w 906703"/>
                  <a:gd name="connsiteY1" fmla="*/ 0 h 27653"/>
                  <a:gd name="connsiteX2" fmla="*/ 906704 w 906703"/>
                  <a:gd name="connsiteY2" fmla="*/ 27653 h 27653"/>
                  <a:gd name="connsiteX3" fmla="*/ 0 w 906703"/>
                  <a:gd name="connsiteY3" fmla="*/ 27653 h 27653"/>
                </a:gdLst>
                <a:ahLst/>
                <a:cxnLst>
                  <a:cxn ang="0">
                    <a:pos x="connsiteX0" y="connsiteY0"/>
                  </a:cxn>
                  <a:cxn ang="0">
                    <a:pos x="connsiteX1" y="connsiteY1"/>
                  </a:cxn>
                  <a:cxn ang="0">
                    <a:pos x="connsiteX2" y="connsiteY2"/>
                  </a:cxn>
                  <a:cxn ang="0">
                    <a:pos x="connsiteX3" y="connsiteY3"/>
                  </a:cxn>
                </a:cxnLst>
                <a:rect l="l" t="t" r="r" b="b"/>
                <a:pathLst>
                  <a:path w="906703" h="27653">
                    <a:moveTo>
                      <a:pt x="0" y="0"/>
                    </a:moveTo>
                    <a:lnTo>
                      <a:pt x="906704" y="0"/>
                    </a:lnTo>
                    <a:lnTo>
                      <a:pt x="906704" y="27653"/>
                    </a:lnTo>
                    <a:lnTo>
                      <a:pt x="0" y="27653"/>
                    </a:lnTo>
                    <a:close/>
                  </a:path>
                </a:pathLst>
              </a:custGeom>
              <a:solidFill>
                <a:srgbClr val="41728A"/>
              </a:solidFill>
              <a:ln w="2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24" name="Freeform: Shape 323">
                <a:extLst>
                  <a:ext uri="{FF2B5EF4-FFF2-40B4-BE49-F238E27FC236}">
                    <a16:creationId xmlns:a16="http://schemas.microsoft.com/office/drawing/2014/main" id="{CEC0ADBA-EB9B-3060-8A47-37242E62925F}"/>
                  </a:ext>
                </a:extLst>
              </p:cNvPr>
              <p:cNvSpPr/>
              <p:nvPr/>
            </p:nvSpPr>
            <p:spPr>
              <a:xfrm>
                <a:off x="2720403" y="1738179"/>
                <a:ext cx="293426" cy="13626"/>
              </a:xfrm>
              <a:custGeom>
                <a:avLst/>
                <a:gdLst>
                  <a:gd name="connsiteX0" fmla="*/ 0 w 595489"/>
                  <a:gd name="connsiteY0" fmla="*/ 0 h 27653"/>
                  <a:gd name="connsiteX1" fmla="*/ 595489 w 595489"/>
                  <a:gd name="connsiteY1" fmla="*/ 0 h 27653"/>
                  <a:gd name="connsiteX2" fmla="*/ 595489 w 595489"/>
                  <a:gd name="connsiteY2" fmla="*/ 27653 h 27653"/>
                  <a:gd name="connsiteX3" fmla="*/ 0 w 595489"/>
                  <a:gd name="connsiteY3" fmla="*/ 27653 h 27653"/>
                </a:gdLst>
                <a:ahLst/>
                <a:cxnLst>
                  <a:cxn ang="0">
                    <a:pos x="connsiteX0" y="connsiteY0"/>
                  </a:cxn>
                  <a:cxn ang="0">
                    <a:pos x="connsiteX1" y="connsiteY1"/>
                  </a:cxn>
                  <a:cxn ang="0">
                    <a:pos x="connsiteX2" y="connsiteY2"/>
                  </a:cxn>
                  <a:cxn ang="0">
                    <a:pos x="connsiteX3" y="connsiteY3"/>
                  </a:cxn>
                </a:cxnLst>
                <a:rect l="l" t="t" r="r" b="b"/>
                <a:pathLst>
                  <a:path w="595489" h="27653">
                    <a:moveTo>
                      <a:pt x="0" y="0"/>
                    </a:moveTo>
                    <a:lnTo>
                      <a:pt x="595489" y="0"/>
                    </a:lnTo>
                    <a:lnTo>
                      <a:pt x="595489" y="27653"/>
                    </a:lnTo>
                    <a:lnTo>
                      <a:pt x="0" y="27653"/>
                    </a:lnTo>
                    <a:close/>
                  </a:path>
                </a:pathLst>
              </a:custGeom>
              <a:solidFill>
                <a:srgbClr val="41728A"/>
              </a:solidFill>
              <a:ln w="2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25" name="Freeform: Shape 324">
                <a:extLst>
                  <a:ext uri="{FF2B5EF4-FFF2-40B4-BE49-F238E27FC236}">
                    <a16:creationId xmlns:a16="http://schemas.microsoft.com/office/drawing/2014/main" id="{2BA437B9-6163-91C4-5320-E1255AA6C9B3}"/>
                  </a:ext>
                </a:extLst>
              </p:cNvPr>
              <p:cNvSpPr/>
              <p:nvPr/>
            </p:nvSpPr>
            <p:spPr>
              <a:xfrm>
                <a:off x="2720403" y="1816233"/>
                <a:ext cx="269762" cy="13626"/>
              </a:xfrm>
              <a:custGeom>
                <a:avLst/>
                <a:gdLst>
                  <a:gd name="connsiteX0" fmla="*/ 0 w 547464"/>
                  <a:gd name="connsiteY0" fmla="*/ 0 h 27653"/>
                  <a:gd name="connsiteX1" fmla="*/ 547465 w 547464"/>
                  <a:gd name="connsiteY1" fmla="*/ 0 h 27653"/>
                  <a:gd name="connsiteX2" fmla="*/ 547465 w 547464"/>
                  <a:gd name="connsiteY2" fmla="*/ 27653 h 27653"/>
                  <a:gd name="connsiteX3" fmla="*/ 0 w 547464"/>
                  <a:gd name="connsiteY3" fmla="*/ 27653 h 27653"/>
                </a:gdLst>
                <a:ahLst/>
                <a:cxnLst>
                  <a:cxn ang="0">
                    <a:pos x="connsiteX0" y="connsiteY0"/>
                  </a:cxn>
                  <a:cxn ang="0">
                    <a:pos x="connsiteX1" y="connsiteY1"/>
                  </a:cxn>
                  <a:cxn ang="0">
                    <a:pos x="connsiteX2" y="connsiteY2"/>
                  </a:cxn>
                  <a:cxn ang="0">
                    <a:pos x="connsiteX3" y="connsiteY3"/>
                  </a:cxn>
                </a:cxnLst>
                <a:rect l="l" t="t" r="r" b="b"/>
                <a:pathLst>
                  <a:path w="547464" h="27653">
                    <a:moveTo>
                      <a:pt x="0" y="0"/>
                    </a:moveTo>
                    <a:lnTo>
                      <a:pt x="547465" y="0"/>
                    </a:lnTo>
                    <a:lnTo>
                      <a:pt x="547465" y="27653"/>
                    </a:lnTo>
                    <a:lnTo>
                      <a:pt x="0" y="27653"/>
                    </a:lnTo>
                    <a:close/>
                  </a:path>
                </a:pathLst>
              </a:custGeom>
              <a:solidFill>
                <a:srgbClr val="41728A"/>
              </a:solidFill>
              <a:ln w="2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26" name="Freeform: Shape 325">
                <a:extLst>
                  <a:ext uri="{FF2B5EF4-FFF2-40B4-BE49-F238E27FC236}">
                    <a16:creationId xmlns:a16="http://schemas.microsoft.com/office/drawing/2014/main" id="{F3B48288-FD14-1504-69A3-D1FE258FD099}"/>
                  </a:ext>
                </a:extLst>
              </p:cNvPr>
              <p:cNvSpPr/>
              <p:nvPr/>
            </p:nvSpPr>
            <p:spPr>
              <a:xfrm>
                <a:off x="2970158" y="1671172"/>
                <a:ext cx="288918" cy="288918"/>
              </a:xfrm>
              <a:custGeom>
                <a:avLst/>
                <a:gdLst>
                  <a:gd name="connsiteX0" fmla="*/ 293170 w 586340"/>
                  <a:gd name="connsiteY0" fmla="*/ 586341 h 586341"/>
                  <a:gd name="connsiteX1" fmla="*/ 0 w 586340"/>
                  <a:gd name="connsiteY1" fmla="*/ 293171 h 586341"/>
                  <a:gd name="connsiteX2" fmla="*/ 293170 w 586340"/>
                  <a:gd name="connsiteY2" fmla="*/ 0 h 586341"/>
                  <a:gd name="connsiteX3" fmla="*/ 586341 w 586340"/>
                  <a:gd name="connsiteY3" fmla="*/ 293171 h 586341"/>
                  <a:gd name="connsiteX4" fmla="*/ 293170 w 586340"/>
                  <a:gd name="connsiteY4" fmla="*/ 586341 h 586341"/>
                  <a:gd name="connsiteX5" fmla="*/ 293170 w 586340"/>
                  <a:gd name="connsiteY5" fmla="*/ 52979 h 586341"/>
                  <a:gd name="connsiteX6" fmla="*/ 53002 w 586340"/>
                  <a:gd name="connsiteY6" fmla="*/ 293148 h 586341"/>
                  <a:gd name="connsiteX7" fmla="*/ 293170 w 586340"/>
                  <a:gd name="connsiteY7" fmla="*/ 533316 h 586341"/>
                  <a:gd name="connsiteX8" fmla="*/ 533339 w 586340"/>
                  <a:gd name="connsiteY8" fmla="*/ 293148 h 586341"/>
                  <a:gd name="connsiteX9" fmla="*/ 293170 w 586340"/>
                  <a:gd name="connsiteY9" fmla="*/ 52979 h 58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340" h="586341">
                    <a:moveTo>
                      <a:pt x="293170" y="586341"/>
                    </a:moveTo>
                    <a:cubicBezTo>
                      <a:pt x="131514" y="586341"/>
                      <a:pt x="0" y="454827"/>
                      <a:pt x="0" y="293171"/>
                    </a:cubicBezTo>
                    <a:cubicBezTo>
                      <a:pt x="0" y="131514"/>
                      <a:pt x="131514" y="0"/>
                      <a:pt x="293170" y="0"/>
                    </a:cubicBezTo>
                    <a:cubicBezTo>
                      <a:pt x="454827" y="0"/>
                      <a:pt x="586341" y="131514"/>
                      <a:pt x="586341" y="293171"/>
                    </a:cubicBezTo>
                    <a:cubicBezTo>
                      <a:pt x="586341" y="454827"/>
                      <a:pt x="454827" y="586341"/>
                      <a:pt x="293170" y="586341"/>
                    </a:cubicBezTo>
                    <a:close/>
                    <a:moveTo>
                      <a:pt x="293170" y="52979"/>
                    </a:moveTo>
                    <a:cubicBezTo>
                      <a:pt x="160734" y="52979"/>
                      <a:pt x="53002" y="160711"/>
                      <a:pt x="53002" y="293148"/>
                    </a:cubicBezTo>
                    <a:cubicBezTo>
                      <a:pt x="53002" y="425584"/>
                      <a:pt x="160734" y="533316"/>
                      <a:pt x="293170" y="533316"/>
                    </a:cubicBezTo>
                    <a:cubicBezTo>
                      <a:pt x="425606" y="533316"/>
                      <a:pt x="533339" y="425584"/>
                      <a:pt x="533339" y="293148"/>
                    </a:cubicBezTo>
                    <a:cubicBezTo>
                      <a:pt x="533339" y="160711"/>
                      <a:pt x="425606" y="52979"/>
                      <a:pt x="293170" y="52979"/>
                    </a:cubicBezTo>
                    <a:close/>
                  </a:path>
                </a:pathLst>
              </a:custGeom>
              <a:solidFill>
                <a:srgbClr val="41728A"/>
              </a:solidFill>
              <a:ln w="2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27" name="Freeform: Shape 326">
                <a:extLst>
                  <a:ext uri="{FF2B5EF4-FFF2-40B4-BE49-F238E27FC236}">
                    <a16:creationId xmlns:a16="http://schemas.microsoft.com/office/drawing/2014/main" id="{AB39B01F-F2A0-0A1E-E72B-7EF606FCD234}"/>
                  </a:ext>
                </a:extLst>
              </p:cNvPr>
              <p:cNvSpPr/>
              <p:nvPr/>
            </p:nvSpPr>
            <p:spPr>
              <a:xfrm rot="19261800">
                <a:off x="3216429" y="1904714"/>
                <a:ext cx="26117" cy="95882"/>
              </a:xfrm>
              <a:custGeom>
                <a:avLst/>
                <a:gdLst>
                  <a:gd name="connsiteX0" fmla="*/ 0 w 53002"/>
                  <a:gd name="connsiteY0" fmla="*/ 0 h 194586"/>
                  <a:gd name="connsiteX1" fmla="*/ 53002 w 53002"/>
                  <a:gd name="connsiteY1" fmla="*/ 0 h 194586"/>
                  <a:gd name="connsiteX2" fmla="*/ 53002 w 53002"/>
                  <a:gd name="connsiteY2" fmla="*/ 194587 h 194586"/>
                  <a:gd name="connsiteX3" fmla="*/ 0 w 53002"/>
                  <a:gd name="connsiteY3" fmla="*/ 194587 h 194586"/>
                </a:gdLst>
                <a:ahLst/>
                <a:cxnLst>
                  <a:cxn ang="0">
                    <a:pos x="connsiteX0" y="connsiteY0"/>
                  </a:cxn>
                  <a:cxn ang="0">
                    <a:pos x="connsiteX1" y="connsiteY1"/>
                  </a:cxn>
                  <a:cxn ang="0">
                    <a:pos x="connsiteX2" y="connsiteY2"/>
                  </a:cxn>
                  <a:cxn ang="0">
                    <a:pos x="connsiteX3" y="connsiteY3"/>
                  </a:cxn>
                </a:cxnLst>
                <a:rect l="l" t="t" r="r" b="b"/>
                <a:pathLst>
                  <a:path w="53002" h="194586">
                    <a:moveTo>
                      <a:pt x="0" y="0"/>
                    </a:moveTo>
                    <a:lnTo>
                      <a:pt x="53002" y="0"/>
                    </a:lnTo>
                    <a:lnTo>
                      <a:pt x="53002" y="194587"/>
                    </a:lnTo>
                    <a:lnTo>
                      <a:pt x="0" y="194587"/>
                    </a:lnTo>
                    <a:close/>
                  </a:path>
                </a:pathLst>
              </a:custGeom>
              <a:solidFill>
                <a:srgbClr val="41728A"/>
              </a:solidFill>
              <a:ln w="2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28" name="Freeform: Shape 327">
                <a:extLst>
                  <a:ext uri="{FF2B5EF4-FFF2-40B4-BE49-F238E27FC236}">
                    <a16:creationId xmlns:a16="http://schemas.microsoft.com/office/drawing/2014/main" id="{12547AF4-A149-13E9-C23E-FF6FF2861666}"/>
                  </a:ext>
                </a:extLst>
              </p:cNvPr>
              <p:cNvSpPr/>
              <p:nvPr/>
            </p:nvSpPr>
            <p:spPr>
              <a:xfrm>
                <a:off x="2671168" y="1551808"/>
                <a:ext cx="46930" cy="43410"/>
              </a:xfrm>
              <a:custGeom>
                <a:avLst/>
                <a:gdLst>
                  <a:gd name="connsiteX0" fmla="*/ 0 w 95242"/>
                  <a:gd name="connsiteY0" fmla="*/ 0 h 88098"/>
                  <a:gd name="connsiteX1" fmla="*/ 95242 w 95242"/>
                  <a:gd name="connsiteY1" fmla="*/ 0 h 88098"/>
                  <a:gd name="connsiteX2" fmla="*/ 95242 w 95242"/>
                  <a:gd name="connsiteY2" fmla="*/ 88099 h 88098"/>
                  <a:gd name="connsiteX3" fmla="*/ 0 w 95242"/>
                  <a:gd name="connsiteY3" fmla="*/ 88099 h 88098"/>
                </a:gdLst>
                <a:ahLst/>
                <a:cxnLst>
                  <a:cxn ang="0">
                    <a:pos x="connsiteX0" y="connsiteY0"/>
                  </a:cxn>
                  <a:cxn ang="0">
                    <a:pos x="connsiteX1" y="connsiteY1"/>
                  </a:cxn>
                  <a:cxn ang="0">
                    <a:pos x="connsiteX2" y="connsiteY2"/>
                  </a:cxn>
                  <a:cxn ang="0">
                    <a:pos x="connsiteX3" y="connsiteY3"/>
                  </a:cxn>
                </a:cxnLst>
                <a:rect l="l" t="t" r="r" b="b"/>
                <a:pathLst>
                  <a:path w="95242" h="88098">
                    <a:moveTo>
                      <a:pt x="0" y="0"/>
                    </a:moveTo>
                    <a:lnTo>
                      <a:pt x="95242" y="0"/>
                    </a:lnTo>
                    <a:lnTo>
                      <a:pt x="95242" y="88099"/>
                    </a:lnTo>
                    <a:lnTo>
                      <a:pt x="0" y="88099"/>
                    </a:lnTo>
                    <a:close/>
                  </a:path>
                </a:pathLst>
              </a:custGeom>
              <a:solidFill>
                <a:srgbClr val="41728A"/>
              </a:solidFill>
              <a:ln w="22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29" name="Freeform: Shape 328">
                <a:extLst>
                  <a:ext uri="{FF2B5EF4-FFF2-40B4-BE49-F238E27FC236}">
                    <a16:creationId xmlns:a16="http://schemas.microsoft.com/office/drawing/2014/main" id="{1291F51B-934B-CA37-340A-8394BD69E63F}"/>
                  </a:ext>
                </a:extLst>
              </p:cNvPr>
              <p:cNvSpPr/>
              <p:nvPr/>
            </p:nvSpPr>
            <p:spPr>
              <a:xfrm>
                <a:off x="2727841" y="1560631"/>
                <a:ext cx="84901" cy="26117"/>
              </a:xfrm>
              <a:custGeom>
                <a:avLst/>
                <a:gdLst>
                  <a:gd name="connsiteX0" fmla="*/ 0 w 172302"/>
                  <a:gd name="connsiteY0" fmla="*/ 0 h 53002"/>
                  <a:gd name="connsiteX1" fmla="*/ 172303 w 172302"/>
                  <a:gd name="connsiteY1" fmla="*/ 0 h 53002"/>
                  <a:gd name="connsiteX2" fmla="*/ 172303 w 172302"/>
                  <a:gd name="connsiteY2" fmla="*/ 53002 h 53002"/>
                  <a:gd name="connsiteX3" fmla="*/ 0 w 172302"/>
                  <a:gd name="connsiteY3" fmla="*/ 53002 h 53002"/>
                </a:gdLst>
                <a:ahLst/>
                <a:cxnLst>
                  <a:cxn ang="0">
                    <a:pos x="connsiteX0" y="connsiteY0"/>
                  </a:cxn>
                  <a:cxn ang="0">
                    <a:pos x="connsiteX1" y="connsiteY1"/>
                  </a:cxn>
                  <a:cxn ang="0">
                    <a:pos x="connsiteX2" y="connsiteY2"/>
                  </a:cxn>
                  <a:cxn ang="0">
                    <a:pos x="connsiteX3" y="connsiteY3"/>
                  </a:cxn>
                </a:cxnLst>
                <a:rect l="l" t="t" r="r" b="b"/>
                <a:pathLst>
                  <a:path w="172302" h="53002">
                    <a:moveTo>
                      <a:pt x="0" y="0"/>
                    </a:moveTo>
                    <a:lnTo>
                      <a:pt x="172303" y="0"/>
                    </a:lnTo>
                    <a:lnTo>
                      <a:pt x="172303" y="53002"/>
                    </a:lnTo>
                    <a:lnTo>
                      <a:pt x="0" y="53002"/>
                    </a:lnTo>
                    <a:close/>
                  </a:path>
                </a:pathLst>
              </a:custGeom>
              <a:gradFill>
                <a:gsLst>
                  <a:gs pos="0">
                    <a:srgbClr val="FFFFFF"/>
                  </a:gs>
                  <a:gs pos="100000">
                    <a:srgbClr val="FFFFFF">
                      <a:lumMod val="85000"/>
                    </a:srgbClr>
                  </a:gs>
                </a:gsLst>
                <a:lin ang="0" scaled="1"/>
              </a:gradFill>
              <a:ln w="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30" name="Freeform: Shape 329">
                <a:extLst>
                  <a:ext uri="{FF2B5EF4-FFF2-40B4-BE49-F238E27FC236}">
                    <a16:creationId xmlns:a16="http://schemas.microsoft.com/office/drawing/2014/main" id="{D9CDDAC0-DB5C-49D2-4FC7-AD3583D53355}"/>
                  </a:ext>
                </a:extLst>
              </p:cNvPr>
              <p:cNvSpPr/>
              <p:nvPr/>
            </p:nvSpPr>
            <p:spPr>
              <a:xfrm rot="5400000">
                <a:off x="2651677" y="1633616"/>
                <a:ext cx="84901" cy="26117"/>
              </a:xfrm>
              <a:custGeom>
                <a:avLst/>
                <a:gdLst>
                  <a:gd name="connsiteX0" fmla="*/ 0 w 172302"/>
                  <a:gd name="connsiteY0" fmla="*/ 0 h 53002"/>
                  <a:gd name="connsiteX1" fmla="*/ 172303 w 172302"/>
                  <a:gd name="connsiteY1" fmla="*/ 0 h 53002"/>
                  <a:gd name="connsiteX2" fmla="*/ 172303 w 172302"/>
                  <a:gd name="connsiteY2" fmla="*/ 53002 h 53002"/>
                  <a:gd name="connsiteX3" fmla="*/ 0 w 172302"/>
                  <a:gd name="connsiteY3" fmla="*/ 53002 h 53002"/>
                </a:gdLst>
                <a:ahLst/>
                <a:cxnLst>
                  <a:cxn ang="0">
                    <a:pos x="connsiteX0" y="connsiteY0"/>
                  </a:cxn>
                  <a:cxn ang="0">
                    <a:pos x="connsiteX1" y="connsiteY1"/>
                  </a:cxn>
                  <a:cxn ang="0">
                    <a:pos x="connsiteX2" y="connsiteY2"/>
                  </a:cxn>
                  <a:cxn ang="0">
                    <a:pos x="connsiteX3" y="connsiteY3"/>
                  </a:cxn>
                </a:cxnLst>
                <a:rect l="l" t="t" r="r" b="b"/>
                <a:pathLst>
                  <a:path w="172302" h="53002">
                    <a:moveTo>
                      <a:pt x="0" y="0"/>
                    </a:moveTo>
                    <a:lnTo>
                      <a:pt x="172303" y="0"/>
                    </a:lnTo>
                    <a:lnTo>
                      <a:pt x="172303" y="53002"/>
                    </a:lnTo>
                    <a:lnTo>
                      <a:pt x="0" y="53002"/>
                    </a:lnTo>
                    <a:close/>
                  </a:path>
                </a:pathLst>
              </a:custGeom>
              <a:gradFill>
                <a:gsLst>
                  <a:gs pos="0">
                    <a:srgbClr val="FFFFFF"/>
                  </a:gs>
                  <a:gs pos="100000">
                    <a:srgbClr val="FFFFFF">
                      <a:lumMod val="85000"/>
                    </a:srgbClr>
                  </a:gs>
                </a:gsLst>
                <a:lin ang="0" scaled="1"/>
              </a:gradFill>
              <a:ln w="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nvGrpSpPr>
            <p:cNvPr id="28" name="Group 27">
              <a:extLst>
                <a:ext uri="{FF2B5EF4-FFF2-40B4-BE49-F238E27FC236}">
                  <a16:creationId xmlns:a16="http://schemas.microsoft.com/office/drawing/2014/main" id="{41DBE069-CCC0-8D9F-A3EF-A723769DBA84}"/>
                </a:ext>
              </a:extLst>
            </p:cNvPr>
            <p:cNvGrpSpPr/>
            <p:nvPr/>
          </p:nvGrpSpPr>
          <p:grpSpPr>
            <a:xfrm>
              <a:off x="8754411" y="2276180"/>
              <a:ext cx="534924" cy="396103"/>
              <a:chOff x="8769943" y="2207225"/>
              <a:chExt cx="534924" cy="396103"/>
            </a:xfrm>
          </p:grpSpPr>
          <p:sp>
            <p:nvSpPr>
              <p:cNvPr id="303" name="TextBox 302">
                <a:extLst>
                  <a:ext uri="{FF2B5EF4-FFF2-40B4-BE49-F238E27FC236}">
                    <a16:creationId xmlns:a16="http://schemas.microsoft.com/office/drawing/2014/main" id="{03BC8F26-CF63-7C97-E5A0-383962FF0EB3}"/>
                  </a:ext>
                </a:extLst>
              </p:cNvPr>
              <p:cNvSpPr txBox="1"/>
              <p:nvPr/>
            </p:nvSpPr>
            <p:spPr>
              <a:xfrm>
                <a:off x="8769943" y="2403801"/>
                <a:ext cx="534924" cy="199527"/>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Text"/>
                    <a:sym typeface="Helvetica Neue"/>
                  </a:rPr>
                  <a:t>Customer Data </a:t>
                </a:r>
                <a:r>
                  <a:rPr kumimoji="0" lang="en-IN" sz="900" b="0" i="0" u="none" strike="noStrike" kern="0" cap="none" spc="0" normalizeH="0" baseline="0" noProof="0" err="1">
                    <a:ln>
                      <a:noFill/>
                    </a:ln>
                    <a:solidFill>
                      <a:srgbClr val="525252"/>
                    </a:solidFill>
                    <a:effectLst/>
                    <a:uLnTx/>
                    <a:uFillTx/>
                    <a:latin typeface="IntelOne Text"/>
                    <a:sym typeface="Helvetica Neue"/>
                  </a:rPr>
                  <a:t>Center</a:t>
                </a:r>
                <a:endParaRPr kumimoji="0" lang="en-IN" sz="900" b="0" i="0" u="none" strike="noStrike" kern="0" cap="none" spc="0" normalizeH="0" baseline="0" noProof="0">
                  <a:ln>
                    <a:noFill/>
                  </a:ln>
                  <a:solidFill>
                    <a:srgbClr val="525252"/>
                  </a:solidFill>
                  <a:effectLst/>
                  <a:uLnTx/>
                  <a:uFillTx/>
                  <a:latin typeface="IntelOne Text"/>
                  <a:sym typeface="Helvetica Neue"/>
                </a:endParaRPr>
              </a:p>
            </p:txBody>
          </p:sp>
          <p:grpSp>
            <p:nvGrpSpPr>
              <p:cNvPr id="304" name="Group 303">
                <a:extLst>
                  <a:ext uri="{FF2B5EF4-FFF2-40B4-BE49-F238E27FC236}">
                    <a16:creationId xmlns:a16="http://schemas.microsoft.com/office/drawing/2014/main" id="{A889A79D-F16D-D2EE-3435-2CE8CD34AC1F}"/>
                  </a:ext>
                </a:extLst>
              </p:cNvPr>
              <p:cNvGrpSpPr/>
              <p:nvPr/>
            </p:nvGrpSpPr>
            <p:grpSpPr>
              <a:xfrm>
                <a:off x="8943525" y="2207225"/>
                <a:ext cx="187760" cy="191803"/>
                <a:chOff x="2641759" y="3542336"/>
                <a:chExt cx="471011" cy="481152"/>
              </a:xfrm>
            </p:grpSpPr>
            <p:sp>
              <p:nvSpPr>
                <p:cNvPr id="305" name="Freeform: Shape 304">
                  <a:extLst>
                    <a:ext uri="{FF2B5EF4-FFF2-40B4-BE49-F238E27FC236}">
                      <a16:creationId xmlns:a16="http://schemas.microsoft.com/office/drawing/2014/main" id="{8EAAC283-06B0-C9C1-8FEF-A2BD02EF564F}"/>
                    </a:ext>
                  </a:extLst>
                </p:cNvPr>
                <p:cNvSpPr/>
                <p:nvPr/>
              </p:nvSpPr>
              <p:spPr>
                <a:xfrm>
                  <a:off x="2987525" y="3542336"/>
                  <a:ext cx="81929" cy="81929"/>
                </a:xfrm>
                <a:custGeom>
                  <a:avLst/>
                  <a:gdLst>
                    <a:gd name="connsiteX0" fmla="*/ 286883 w 573765"/>
                    <a:gd name="connsiteY0" fmla="*/ 573766 h 573765"/>
                    <a:gd name="connsiteX1" fmla="*/ 0 w 573765"/>
                    <a:gd name="connsiteY1" fmla="*/ 286883 h 573765"/>
                    <a:gd name="connsiteX2" fmla="*/ 286883 w 573765"/>
                    <a:gd name="connsiteY2" fmla="*/ 0 h 573765"/>
                    <a:gd name="connsiteX3" fmla="*/ 573766 w 573765"/>
                    <a:gd name="connsiteY3" fmla="*/ 286883 h 573765"/>
                    <a:gd name="connsiteX4" fmla="*/ 286883 w 573765"/>
                    <a:gd name="connsiteY4" fmla="*/ 573766 h 573765"/>
                    <a:gd name="connsiteX5" fmla="*/ 286883 w 573765"/>
                    <a:gd name="connsiteY5" fmla="*/ 136441 h 573765"/>
                    <a:gd name="connsiteX6" fmla="*/ 136441 w 573765"/>
                    <a:gd name="connsiteY6" fmla="*/ 286883 h 573765"/>
                    <a:gd name="connsiteX7" fmla="*/ 286883 w 573765"/>
                    <a:gd name="connsiteY7" fmla="*/ 437325 h 573765"/>
                    <a:gd name="connsiteX8" fmla="*/ 437325 w 573765"/>
                    <a:gd name="connsiteY8" fmla="*/ 286883 h 573765"/>
                    <a:gd name="connsiteX9" fmla="*/ 286883 w 573765"/>
                    <a:gd name="connsiteY9" fmla="*/ 136441 h 57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765" h="573765">
                      <a:moveTo>
                        <a:pt x="286883" y="573766"/>
                      </a:moveTo>
                      <a:cubicBezTo>
                        <a:pt x="128670" y="573766"/>
                        <a:pt x="0" y="445096"/>
                        <a:pt x="0" y="286883"/>
                      </a:cubicBezTo>
                      <a:cubicBezTo>
                        <a:pt x="0" y="128670"/>
                        <a:pt x="128670" y="0"/>
                        <a:pt x="286883" y="0"/>
                      </a:cubicBezTo>
                      <a:cubicBezTo>
                        <a:pt x="445096" y="0"/>
                        <a:pt x="573766" y="128670"/>
                        <a:pt x="573766" y="286883"/>
                      </a:cubicBezTo>
                      <a:cubicBezTo>
                        <a:pt x="573766" y="445096"/>
                        <a:pt x="445096" y="573766"/>
                        <a:pt x="286883" y="573766"/>
                      </a:cubicBezTo>
                      <a:close/>
                      <a:moveTo>
                        <a:pt x="286883" y="136441"/>
                      </a:moveTo>
                      <a:cubicBezTo>
                        <a:pt x="203950" y="136441"/>
                        <a:pt x="136441" y="203950"/>
                        <a:pt x="136441" y="286883"/>
                      </a:cubicBezTo>
                      <a:cubicBezTo>
                        <a:pt x="136441" y="369816"/>
                        <a:pt x="203950" y="437325"/>
                        <a:pt x="286883" y="437325"/>
                      </a:cubicBezTo>
                      <a:cubicBezTo>
                        <a:pt x="369816" y="437325"/>
                        <a:pt x="437325" y="369816"/>
                        <a:pt x="437325" y="286883"/>
                      </a:cubicBezTo>
                      <a:cubicBezTo>
                        <a:pt x="437325" y="203950"/>
                        <a:pt x="369816" y="136441"/>
                        <a:pt x="286883" y="136441"/>
                      </a:cubicBezTo>
                      <a:close/>
                    </a:path>
                  </a:pathLst>
                </a:custGeom>
                <a:solidFill>
                  <a:srgbClr val="41728A"/>
                </a:solidFill>
                <a:ln w="59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06" name="Freeform: Shape 305">
                  <a:extLst>
                    <a:ext uri="{FF2B5EF4-FFF2-40B4-BE49-F238E27FC236}">
                      <a16:creationId xmlns:a16="http://schemas.microsoft.com/office/drawing/2014/main" id="{FE72CC7A-8662-BA07-6FD0-DAABDA8F7CC2}"/>
                    </a:ext>
                  </a:extLst>
                </p:cNvPr>
                <p:cNvSpPr/>
                <p:nvPr/>
              </p:nvSpPr>
              <p:spPr>
                <a:xfrm>
                  <a:off x="2937120" y="3632612"/>
                  <a:ext cx="175650" cy="98549"/>
                </a:xfrm>
                <a:custGeom>
                  <a:avLst/>
                  <a:gdLst>
                    <a:gd name="connsiteX0" fmla="*/ 615054 w 1230108"/>
                    <a:gd name="connsiteY0" fmla="*/ 0 h 690156"/>
                    <a:gd name="connsiteX1" fmla="*/ 0 w 1230108"/>
                    <a:gd name="connsiteY1" fmla="*/ 615054 h 690156"/>
                    <a:gd name="connsiteX2" fmla="*/ 59 w 1230108"/>
                    <a:gd name="connsiteY2" fmla="*/ 620809 h 690156"/>
                    <a:gd name="connsiteX3" fmla="*/ 949 w 1230108"/>
                    <a:gd name="connsiteY3" fmla="*/ 690157 h 690156"/>
                    <a:gd name="connsiteX4" fmla="*/ 1229159 w 1230108"/>
                    <a:gd name="connsiteY4" fmla="*/ 690157 h 690156"/>
                    <a:gd name="connsiteX5" fmla="*/ 1230049 w 1230108"/>
                    <a:gd name="connsiteY5" fmla="*/ 620809 h 690156"/>
                    <a:gd name="connsiteX6" fmla="*/ 1230109 w 1230108"/>
                    <a:gd name="connsiteY6" fmla="*/ 615054 h 690156"/>
                    <a:gd name="connsiteX7" fmla="*/ 615054 w 1230108"/>
                    <a:gd name="connsiteY7" fmla="*/ 0 h 690156"/>
                    <a:gd name="connsiteX8" fmla="*/ 140357 w 1230108"/>
                    <a:gd name="connsiteY8" fmla="*/ 553715 h 690156"/>
                    <a:gd name="connsiteX9" fmla="*/ 615054 w 1230108"/>
                    <a:gd name="connsiteY9" fmla="*/ 136442 h 690156"/>
                    <a:gd name="connsiteX10" fmla="*/ 1089752 w 1230108"/>
                    <a:gd name="connsiteY10" fmla="*/ 553715 h 690156"/>
                    <a:gd name="connsiteX11" fmla="*/ 140357 w 1230108"/>
                    <a:gd name="connsiteY11" fmla="*/ 553715 h 69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0108" h="690156">
                      <a:moveTo>
                        <a:pt x="615054" y="0"/>
                      </a:moveTo>
                      <a:cubicBezTo>
                        <a:pt x="275908" y="0"/>
                        <a:pt x="0" y="275908"/>
                        <a:pt x="0" y="615054"/>
                      </a:cubicBezTo>
                      <a:cubicBezTo>
                        <a:pt x="0" y="617012"/>
                        <a:pt x="59" y="618910"/>
                        <a:pt x="59" y="620809"/>
                      </a:cubicBezTo>
                      <a:lnTo>
                        <a:pt x="949" y="690157"/>
                      </a:lnTo>
                      <a:lnTo>
                        <a:pt x="1229159" y="690157"/>
                      </a:lnTo>
                      <a:lnTo>
                        <a:pt x="1230049" y="620809"/>
                      </a:lnTo>
                      <a:cubicBezTo>
                        <a:pt x="1230109" y="618910"/>
                        <a:pt x="1230109" y="617012"/>
                        <a:pt x="1230109" y="615054"/>
                      </a:cubicBezTo>
                      <a:cubicBezTo>
                        <a:pt x="1230109" y="275908"/>
                        <a:pt x="954200" y="0"/>
                        <a:pt x="615054" y="0"/>
                      </a:cubicBezTo>
                      <a:close/>
                      <a:moveTo>
                        <a:pt x="140357" y="553715"/>
                      </a:moveTo>
                      <a:cubicBezTo>
                        <a:pt x="170552" y="318680"/>
                        <a:pt x="371951" y="136442"/>
                        <a:pt x="615054" y="136442"/>
                      </a:cubicBezTo>
                      <a:cubicBezTo>
                        <a:pt x="858157" y="136442"/>
                        <a:pt x="1059557" y="318680"/>
                        <a:pt x="1089752" y="553715"/>
                      </a:cubicBezTo>
                      <a:lnTo>
                        <a:pt x="140357" y="553715"/>
                      </a:lnTo>
                      <a:close/>
                    </a:path>
                  </a:pathLst>
                </a:custGeom>
                <a:solidFill>
                  <a:srgbClr val="41728A"/>
                </a:solidFill>
                <a:ln w="59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07" name="Freeform: Shape 306">
                  <a:extLst>
                    <a:ext uri="{FF2B5EF4-FFF2-40B4-BE49-F238E27FC236}">
                      <a16:creationId xmlns:a16="http://schemas.microsoft.com/office/drawing/2014/main" id="{5CF10FC6-D97D-3354-BEB3-D1035C65BC69}"/>
                    </a:ext>
                  </a:extLst>
                </p:cNvPr>
                <p:cNvSpPr/>
                <p:nvPr/>
              </p:nvSpPr>
              <p:spPr>
                <a:xfrm>
                  <a:off x="2646223" y="3642861"/>
                  <a:ext cx="309283" cy="171462"/>
                </a:xfrm>
                <a:custGeom>
                  <a:avLst/>
                  <a:gdLst>
                    <a:gd name="connsiteX0" fmla="*/ 136441 w 2013638"/>
                    <a:gd name="connsiteY0" fmla="*/ 1116328 h 1116328"/>
                    <a:gd name="connsiteX1" fmla="*/ 136441 w 2013638"/>
                    <a:gd name="connsiteY1" fmla="*/ 184849 h 1116328"/>
                    <a:gd name="connsiteX2" fmla="*/ 184849 w 2013638"/>
                    <a:gd name="connsiteY2" fmla="*/ 136441 h 1116328"/>
                    <a:gd name="connsiteX3" fmla="*/ 1906206 w 2013638"/>
                    <a:gd name="connsiteY3" fmla="*/ 136441 h 1116328"/>
                    <a:gd name="connsiteX4" fmla="*/ 2013639 w 2013638"/>
                    <a:gd name="connsiteY4" fmla="*/ 0 h 1116328"/>
                    <a:gd name="connsiteX5" fmla="*/ 184849 w 2013638"/>
                    <a:gd name="connsiteY5" fmla="*/ 0 h 1116328"/>
                    <a:gd name="connsiteX6" fmla="*/ 0 w 2013638"/>
                    <a:gd name="connsiteY6" fmla="*/ 184849 h 1116328"/>
                    <a:gd name="connsiteX7" fmla="*/ 0 w 2013638"/>
                    <a:gd name="connsiteY7" fmla="*/ 1116328 h 1116328"/>
                    <a:gd name="connsiteX8" fmla="*/ 136441 w 2013638"/>
                    <a:gd name="connsiteY8" fmla="*/ 1116328 h 111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3638" h="1116328">
                      <a:moveTo>
                        <a:pt x="136441" y="1116328"/>
                      </a:moveTo>
                      <a:lnTo>
                        <a:pt x="136441" y="184849"/>
                      </a:lnTo>
                      <a:cubicBezTo>
                        <a:pt x="136441" y="158153"/>
                        <a:pt x="158153" y="136441"/>
                        <a:pt x="184849" y="136441"/>
                      </a:cubicBezTo>
                      <a:lnTo>
                        <a:pt x="1906206" y="136441"/>
                      </a:lnTo>
                      <a:cubicBezTo>
                        <a:pt x="1936282" y="86551"/>
                        <a:pt x="1972469" y="40754"/>
                        <a:pt x="2013639" y="0"/>
                      </a:cubicBezTo>
                      <a:lnTo>
                        <a:pt x="184849" y="0"/>
                      </a:lnTo>
                      <a:cubicBezTo>
                        <a:pt x="82933" y="0"/>
                        <a:pt x="0" y="82933"/>
                        <a:pt x="0" y="184849"/>
                      </a:cubicBezTo>
                      <a:lnTo>
                        <a:pt x="0" y="1116328"/>
                      </a:lnTo>
                      <a:lnTo>
                        <a:pt x="136441" y="1116328"/>
                      </a:lnTo>
                      <a:close/>
                    </a:path>
                  </a:pathLst>
                </a:custGeom>
                <a:solidFill>
                  <a:srgbClr val="FFFFFF">
                    <a:lumMod val="85000"/>
                  </a:srgbClr>
                </a:solidFill>
                <a:ln w="59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08" name="Freeform: Shape 307">
                  <a:extLst>
                    <a:ext uri="{FF2B5EF4-FFF2-40B4-BE49-F238E27FC236}">
                      <a16:creationId xmlns:a16="http://schemas.microsoft.com/office/drawing/2014/main" id="{0BE725D4-5DB0-F16C-85D9-038D3CB6A86E}"/>
                    </a:ext>
                  </a:extLst>
                </p:cNvPr>
                <p:cNvSpPr/>
                <p:nvPr/>
              </p:nvSpPr>
              <p:spPr>
                <a:xfrm>
                  <a:off x="2647107" y="3997812"/>
                  <a:ext cx="195489" cy="20957"/>
                </a:xfrm>
                <a:custGeom>
                  <a:avLst/>
                  <a:gdLst>
                    <a:gd name="connsiteX0" fmla="*/ 1272761 w 1272761"/>
                    <a:gd name="connsiteY0" fmla="*/ 0 h 136441"/>
                    <a:gd name="connsiteX1" fmla="*/ 148425 w 1272761"/>
                    <a:gd name="connsiteY1" fmla="*/ 0 h 136441"/>
                    <a:gd name="connsiteX2" fmla="*/ 0 w 1272761"/>
                    <a:gd name="connsiteY2" fmla="*/ 136441 h 136441"/>
                    <a:gd name="connsiteX3" fmla="*/ 1272761 w 1272761"/>
                    <a:gd name="connsiteY3" fmla="*/ 136441 h 136441"/>
                    <a:gd name="connsiteX4" fmla="*/ 1272761 w 1272761"/>
                    <a:gd name="connsiteY4" fmla="*/ 0 h 136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761" h="136441">
                      <a:moveTo>
                        <a:pt x="1272761" y="0"/>
                      </a:moveTo>
                      <a:lnTo>
                        <a:pt x="148425" y="0"/>
                      </a:lnTo>
                      <a:lnTo>
                        <a:pt x="0" y="136441"/>
                      </a:lnTo>
                      <a:lnTo>
                        <a:pt x="1272761" y="136441"/>
                      </a:lnTo>
                      <a:lnTo>
                        <a:pt x="1272761" y="0"/>
                      </a:lnTo>
                      <a:close/>
                    </a:path>
                  </a:pathLst>
                </a:custGeom>
                <a:gradFill flip="none" rotWithShape="1">
                  <a:gsLst>
                    <a:gs pos="0">
                      <a:srgbClr val="FFFFFF"/>
                    </a:gs>
                    <a:gs pos="100000">
                      <a:srgbClr val="FFFFFF">
                        <a:lumMod val="85000"/>
                      </a:srgbClr>
                    </a:gs>
                  </a:gsLst>
                  <a:lin ang="0" scaled="1"/>
                  <a:tileRect/>
                </a:gradFill>
                <a:ln w="59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09" name="Freeform: Shape 308">
                  <a:extLst>
                    <a:ext uri="{FF2B5EF4-FFF2-40B4-BE49-F238E27FC236}">
                      <a16:creationId xmlns:a16="http://schemas.microsoft.com/office/drawing/2014/main" id="{59BF7D2E-590B-0A11-45BB-384444C2EFCA}"/>
                    </a:ext>
                  </a:extLst>
                </p:cNvPr>
                <p:cNvSpPr/>
                <p:nvPr/>
              </p:nvSpPr>
              <p:spPr>
                <a:xfrm>
                  <a:off x="2836081" y="3744829"/>
                  <a:ext cx="205976" cy="273939"/>
                </a:xfrm>
                <a:custGeom>
                  <a:avLst/>
                  <a:gdLst>
                    <a:gd name="connsiteX0" fmla="*/ 1204659 w 1341041"/>
                    <a:gd name="connsiteY0" fmla="*/ 0 h 1783526"/>
                    <a:gd name="connsiteX1" fmla="*/ 1204659 w 1341041"/>
                    <a:gd name="connsiteY1" fmla="*/ 1598619 h 1783526"/>
                    <a:gd name="connsiteX2" fmla="*/ 1156252 w 1341041"/>
                    <a:gd name="connsiteY2" fmla="*/ 1647086 h 1783526"/>
                    <a:gd name="connsiteX3" fmla="*/ 0 w 1341041"/>
                    <a:gd name="connsiteY3" fmla="*/ 1647086 h 1783526"/>
                    <a:gd name="connsiteX4" fmla="*/ 0 w 1341041"/>
                    <a:gd name="connsiteY4" fmla="*/ 1783527 h 1783526"/>
                    <a:gd name="connsiteX5" fmla="*/ 1156193 w 1341041"/>
                    <a:gd name="connsiteY5" fmla="*/ 1783527 h 1783526"/>
                    <a:gd name="connsiteX6" fmla="*/ 1341041 w 1341041"/>
                    <a:gd name="connsiteY6" fmla="*/ 1598619 h 1783526"/>
                    <a:gd name="connsiteX7" fmla="*/ 1341041 w 1341041"/>
                    <a:gd name="connsiteY7" fmla="*/ 0 h 1783526"/>
                    <a:gd name="connsiteX8" fmla="*/ 1204600 w 1341041"/>
                    <a:gd name="connsiteY8" fmla="*/ 0 h 178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1041" h="1783526">
                      <a:moveTo>
                        <a:pt x="1204659" y="0"/>
                      </a:moveTo>
                      <a:lnTo>
                        <a:pt x="1204659" y="1598619"/>
                      </a:lnTo>
                      <a:cubicBezTo>
                        <a:pt x="1204659" y="1625314"/>
                        <a:pt x="1182947" y="1647086"/>
                        <a:pt x="1156252" y="1647086"/>
                      </a:cubicBezTo>
                      <a:lnTo>
                        <a:pt x="0" y="1647086"/>
                      </a:lnTo>
                      <a:lnTo>
                        <a:pt x="0" y="1783527"/>
                      </a:lnTo>
                      <a:lnTo>
                        <a:pt x="1156193" y="1783527"/>
                      </a:lnTo>
                      <a:cubicBezTo>
                        <a:pt x="1258109" y="1783527"/>
                        <a:pt x="1341041" y="1700594"/>
                        <a:pt x="1341041" y="1598619"/>
                      </a:cubicBezTo>
                      <a:lnTo>
                        <a:pt x="1341041" y="0"/>
                      </a:lnTo>
                      <a:lnTo>
                        <a:pt x="1204600" y="0"/>
                      </a:lnTo>
                      <a:close/>
                    </a:path>
                  </a:pathLst>
                </a:custGeom>
                <a:solidFill>
                  <a:srgbClr val="FFFFFF">
                    <a:lumMod val="85000"/>
                  </a:srgbClr>
                </a:solidFill>
                <a:ln w="59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10" name="Freeform: Shape 309">
                  <a:extLst>
                    <a:ext uri="{FF2B5EF4-FFF2-40B4-BE49-F238E27FC236}">
                      <a16:creationId xmlns:a16="http://schemas.microsoft.com/office/drawing/2014/main" id="{5B0BBEF9-84F3-67C1-D616-81FE102EB8CE}"/>
                    </a:ext>
                  </a:extLst>
                </p:cNvPr>
                <p:cNvSpPr/>
                <p:nvPr/>
              </p:nvSpPr>
              <p:spPr>
                <a:xfrm>
                  <a:off x="2646223" y="3811535"/>
                  <a:ext cx="21385" cy="206815"/>
                </a:xfrm>
                <a:custGeom>
                  <a:avLst/>
                  <a:gdLst>
                    <a:gd name="connsiteX0" fmla="*/ 136441 w 139229"/>
                    <a:gd name="connsiteY0" fmla="*/ 1209346 h 1346499"/>
                    <a:gd name="connsiteX1" fmla="*/ 136441 w 139229"/>
                    <a:gd name="connsiteY1" fmla="*/ 0 h 1346499"/>
                    <a:gd name="connsiteX2" fmla="*/ 0 w 139229"/>
                    <a:gd name="connsiteY2" fmla="*/ 0 h 1346499"/>
                    <a:gd name="connsiteX3" fmla="*/ 0 w 139229"/>
                    <a:gd name="connsiteY3" fmla="*/ 1346499 h 1346499"/>
                    <a:gd name="connsiteX4" fmla="*/ 139230 w 139229"/>
                    <a:gd name="connsiteY4" fmla="*/ 1209346 h 1346499"/>
                    <a:gd name="connsiteX5" fmla="*/ 136441 w 139229"/>
                    <a:gd name="connsiteY5" fmla="*/ 1209346 h 13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229" h="1346499">
                      <a:moveTo>
                        <a:pt x="136441" y="1209346"/>
                      </a:moveTo>
                      <a:lnTo>
                        <a:pt x="136441" y="0"/>
                      </a:lnTo>
                      <a:lnTo>
                        <a:pt x="0" y="0"/>
                      </a:lnTo>
                      <a:lnTo>
                        <a:pt x="0" y="1346499"/>
                      </a:lnTo>
                      <a:lnTo>
                        <a:pt x="139230" y="1209346"/>
                      </a:lnTo>
                      <a:lnTo>
                        <a:pt x="136441" y="1209346"/>
                      </a:lnTo>
                      <a:close/>
                    </a:path>
                  </a:pathLst>
                </a:custGeom>
                <a:gradFill>
                  <a:gsLst>
                    <a:gs pos="0">
                      <a:srgbClr val="FFFFFF"/>
                    </a:gs>
                    <a:gs pos="99000">
                      <a:srgbClr val="FFFFFF">
                        <a:lumMod val="85000"/>
                      </a:srgbClr>
                    </a:gs>
                  </a:gsLst>
                  <a:lin ang="16200000" scaled="1"/>
                </a:gradFill>
                <a:ln w="59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11" name="Freeform: Shape 310">
                  <a:extLst>
                    <a:ext uri="{FF2B5EF4-FFF2-40B4-BE49-F238E27FC236}">
                      <a16:creationId xmlns:a16="http://schemas.microsoft.com/office/drawing/2014/main" id="{A4463E45-2106-C29D-489D-2C1BCAD2034B}"/>
                    </a:ext>
                  </a:extLst>
                </p:cNvPr>
                <p:cNvSpPr/>
                <p:nvPr/>
              </p:nvSpPr>
              <p:spPr>
                <a:xfrm>
                  <a:off x="2686315" y="3680820"/>
                  <a:ext cx="315661" cy="299989"/>
                </a:xfrm>
                <a:custGeom>
                  <a:avLst/>
                  <a:gdLst>
                    <a:gd name="connsiteX0" fmla="*/ 1918723 w 2055164"/>
                    <a:gd name="connsiteY0" fmla="*/ 416740 h 1953129"/>
                    <a:gd name="connsiteX1" fmla="*/ 1918723 w 2055164"/>
                    <a:gd name="connsiteY1" fmla="*/ 1816688 h 1953129"/>
                    <a:gd name="connsiteX2" fmla="*/ 136441 w 2055164"/>
                    <a:gd name="connsiteY2" fmla="*/ 1816688 h 1953129"/>
                    <a:gd name="connsiteX3" fmla="*/ 136441 w 2055164"/>
                    <a:gd name="connsiteY3" fmla="*/ 136441 h 1953129"/>
                    <a:gd name="connsiteX4" fmla="*/ 1553594 w 2055164"/>
                    <a:gd name="connsiteY4" fmla="*/ 136441 h 1953129"/>
                    <a:gd name="connsiteX5" fmla="*/ 1590848 w 2055164"/>
                    <a:gd name="connsiteY5" fmla="*/ 0 h 1953129"/>
                    <a:gd name="connsiteX6" fmla="*/ 0 w 2055164"/>
                    <a:gd name="connsiteY6" fmla="*/ 0 h 1953129"/>
                    <a:gd name="connsiteX7" fmla="*/ 0 w 2055164"/>
                    <a:gd name="connsiteY7" fmla="*/ 1953130 h 1953129"/>
                    <a:gd name="connsiteX8" fmla="*/ 2055164 w 2055164"/>
                    <a:gd name="connsiteY8" fmla="*/ 1953130 h 1953129"/>
                    <a:gd name="connsiteX9" fmla="*/ 2055164 w 2055164"/>
                    <a:gd name="connsiteY9" fmla="*/ 416740 h 1953129"/>
                    <a:gd name="connsiteX10" fmla="*/ 1918723 w 2055164"/>
                    <a:gd name="connsiteY10" fmla="*/ 416740 h 1953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55164" h="1953129">
                      <a:moveTo>
                        <a:pt x="1918723" y="416740"/>
                      </a:moveTo>
                      <a:lnTo>
                        <a:pt x="1918723" y="1816688"/>
                      </a:lnTo>
                      <a:lnTo>
                        <a:pt x="136441" y="1816688"/>
                      </a:lnTo>
                      <a:lnTo>
                        <a:pt x="136441" y="136441"/>
                      </a:lnTo>
                      <a:lnTo>
                        <a:pt x="1553594" y="136441"/>
                      </a:lnTo>
                      <a:cubicBezTo>
                        <a:pt x="1561365" y="89221"/>
                        <a:pt x="1574001" y="43543"/>
                        <a:pt x="1590848" y="0"/>
                      </a:cubicBezTo>
                      <a:lnTo>
                        <a:pt x="0" y="0"/>
                      </a:lnTo>
                      <a:lnTo>
                        <a:pt x="0" y="1953130"/>
                      </a:lnTo>
                      <a:lnTo>
                        <a:pt x="2055164" y="1953130"/>
                      </a:lnTo>
                      <a:lnTo>
                        <a:pt x="2055164" y="416740"/>
                      </a:lnTo>
                      <a:lnTo>
                        <a:pt x="1918723" y="416740"/>
                      </a:lnTo>
                      <a:close/>
                    </a:path>
                  </a:pathLst>
                </a:custGeom>
                <a:solidFill>
                  <a:srgbClr val="FFFFFF">
                    <a:lumMod val="85000"/>
                  </a:srgbClr>
                </a:solidFill>
                <a:ln w="59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12" name="Freeform: Shape 311">
                  <a:extLst>
                    <a:ext uri="{FF2B5EF4-FFF2-40B4-BE49-F238E27FC236}">
                      <a16:creationId xmlns:a16="http://schemas.microsoft.com/office/drawing/2014/main" id="{51BD16CA-1846-681A-8E69-A98BEFB4E20C}"/>
                    </a:ext>
                  </a:extLst>
                </p:cNvPr>
                <p:cNvSpPr/>
                <p:nvPr/>
              </p:nvSpPr>
              <p:spPr>
                <a:xfrm>
                  <a:off x="2730369" y="3911889"/>
                  <a:ext cx="179871" cy="20957"/>
                </a:xfrm>
                <a:custGeom>
                  <a:avLst/>
                  <a:gdLst>
                    <a:gd name="connsiteX0" fmla="*/ 0 w 1171082"/>
                    <a:gd name="connsiteY0" fmla="*/ 0 h 136441"/>
                    <a:gd name="connsiteX1" fmla="*/ 1171083 w 1171082"/>
                    <a:gd name="connsiteY1" fmla="*/ 0 h 136441"/>
                    <a:gd name="connsiteX2" fmla="*/ 1171083 w 1171082"/>
                    <a:gd name="connsiteY2" fmla="*/ 136441 h 136441"/>
                    <a:gd name="connsiteX3" fmla="*/ 0 w 1171082"/>
                    <a:gd name="connsiteY3" fmla="*/ 136441 h 136441"/>
                  </a:gdLst>
                  <a:ahLst/>
                  <a:cxnLst>
                    <a:cxn ang="0">
                      <a:pos x="connsiteX0" y="connsiteY0"/>
                    </a:cxn>
                    <a:cxn ang="0">
                      <a:pos x="connsiteX1" y="connsiteY1"/>
                    </a:cxn>
                    <a:cxn ang="0">
                      <a:pos x="connsiteX2" y="connsiteY2"/>
                    </a:cxn>
                    <a:cxn ang="0">
                      <a:pos x="connsiteX3" y="connsiteY3"/>
                    </a:cxn>
                  </a:cxnLst>
                  <a:rect l="l" t="t" r="r" b="b"/>
                  <a:pathLst>
                    <a:path w="1171082" h="136441">
                      <a:moveTo>
                        <a:pt x="0" y="0"/>
                      </a:moveTo>
                      <a:lnTo>
                        <a:pt x="1171083" y="0"/>
                      </a:lnTo>
                      <a:lnTo>
                        <a:pt x="1171083" y="136441"/>
                      </a:lnTo>
                      <a:lnTo>
                        <a:pt x="0" y="136441"/>
                      </a:lnTo>
                      <a:close/>
                    </a:path>
                  </a:pathLst>
                </a:custGeom>
                <a:solidFill>
                  <a:srgbClr val="41728A"/>
                </a:solidFill>
                <a:ln w="59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13" name="Freeform: Shape 312">
                  <a:extLst>
                    <a:ext uri="{FF2B5EF4-FFF2-40B4-BE49-F238E27FC236}">
                      <a16:creationId xmlns:a16="http://schemas.microsoft.com/office/drawing/2014/main" id="{C62B25D7-64B2-070B-0CE2-08ECBDAE4AB3}"/>
                    </a:ext>
                  </a:extLst>
                </p:cNvPr>
                <p:cNvSpPr/>
                <p:nvPr/>
              </p:nvSpPr>
              <p:spPr>
                <a:xfrm>
                  <a:off x="2730369" y="3731927"/>
                  <a:ext cx="179871" cy="20957"/>
                </a:xfrm>
                <a:custGeom>
                  <a:avLst/>
                  <a:gdLst>
                    <a:gd name="connsiteX0" fmla="*/ 0 w 1171082"/>
                    <a:gd name="connsiteY0" fmla="*/ 0 h 136441"/>
                    <a:gd name="connsiteX1" fmla="*/ 1171083 w 1171082"/>
                    <a:gd name="connsiteY1" fmla="*/ 0 h 136441"/>
                    <a:gd name="connsiteX2" fmla="*/ 1171083 w 1171082"/>
                    <a:gd name="connsiteY2" fmla="*/ 136441 h 136441"/>
                    <a:gd name="connsiteX3" fmla="*/ 0 w 1171082"/>
                    <a:gd name="connsiteY3" fmla="*/ 136441 h 136441"/>
                  </a:gdLst>
                  <a:ahLst/>
                  <a:cxnLst>
                    <a:cxn ang="0">
                      <a:pos x="connsiteX0" y="connsiteY0"/>
                    </a:cxn>
                    <a:cxn ang="0">
                      <a:pos x="connsiteX1" y="connsiteY1"/>
                    </a:cxn>
                    <a:cxn ang="0">
                      <a:pos x="connsiteX2" y="connsiteY2"/>
                    </a:cxn>
                    <a:cxn ang="0">
                      <a:pos x="connsiteX3" y="connsiteY3"/>
                    </a:cxn>
                  </a:cxnLst>
                  <a:rect l="l" t="t" r="r" b="b"/>
                  <a:pathLst>
                    <a:path w="1171082" h="136441">
                      <a:moveTo>
                        <a:pt x="0" y="0"/>
                      </a:moveTo>
                      <a:lnTo>
                        <a:pt x="1171083" y="0"/>
                      </a:lnTo>
                      <a:lnTo>
                        <a:pt x="1171083" y="136441"/>
                      </a:lnTo>
                      <a:lnTo>
                        <a:pt x="0" y="136441"/>
                      </a:lnTo>
                      <a:close/>
                    </a:path>
                  </a:pathLst>
                </a:custGeom>
                <a:solidFill>
                  <a:srgbClr val="41728A"/>
                </a:solidFill>
                <a:ln w="59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14" name="Freeform: Shape 313">
                  <a:extLst>
                    <a:ext uri="{FF2B5EF4-FFF2-40B4-BE49-F238E27FC236}">
                      <a16:creationId xmlns:a16="http://schemas.microsoft.com/office/drawing/2014/main" id="{D396ADC8-BE4C-0C36-5B3C-7EA12CF1BA06}"/>
                    </a:ext>
                  </a:extLst>
                </p:cNvPr>
                <p:cNvSpPr/>
                <p:nvPr/>
              </p:nvSpPr>
              <p:spPr>
                <a:xfrm>
                  <a:off x="2730369" y="3821913"/>
                  <a:ext cx="179871" cy="20957"/>
                </a:xfrm>
                <a:custGeom>
                  <a:avLst/>
                  <a:gdLst>
                    <a:gd name="connsiteX0" fmla="*/ 0 w 1171082"/>
                    <a:gd name="connsiteY0" fmla="*/ 0 h 136441"/>
                    <a:gd name="connsiteX1" fmla="*/ 1171083 w 1171082"/>
                    <a:gd name="connsiteY1" fmla="*/ 0 h 136441"/>
                    <a:gd name="connsiteX2" fmla="*/ 1171083 w 1171082"/>
                    <a:gd name="connsiteY2" fmla="*/ 136441 h 136441"/>
                    <a:gd name="connsiteX3" fmla="*/ 0 w 1171082"/>
                    <a:gd name="connsiteY3" fmla="*/ 136441 h 136441"/>
                  </a:gdLst>
                  <a:ahLst/>
                  <a:cxnLst>
                    <a:cxn ang="0">
                      <a:pos x="connsiteX0" y="connsiteY0"/>
                    </a:cxn>
                    <a:cxn ang="0">
                      <a:pos x="connsiteX1" y="connsiteY1"/>
                    </a:cxn>
                    <a:cxn ang="0">
                      <a:pos x="connsiteX2" y="connsiteY2"/>
                    </a:cxn>
                    <a:cxn ang="0">
                      <a:pos x="connsiteX3" y="connsiteY3"/>
                    </a:cxn>
                  </a:cxnLst>
                  <a:rect l="l" t="t" r="r" b="b"/>
                  <a:pathLst>
                    <a:path w="1171082" h="136441">
                      <a:moveTo>
                        <a:pt x="0" y="0"/>
                      </a:moveTo>
                      <a:lnTo>
                        <a:pt x="1171083" y="0"/>
                      </a:lnTo>
                      <a:lnTo>
                        <a:pt x="1171083" y="136441"/>
                      </a:lnTo>
                      <a:lnTo>
                        <a:pt x="0" y="136441"/>
                      </a:lnTo>
                      <a:close/>
                    </a:path>
                  </a:pathLst>
                </a:custGeom>
                <a:solidFill>
                  <a:srgbClr val="41728A"/>
                </a:solidFill>
                <a:ln w="59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15" name="Freeform: Shape 314">
                  <a:extLst>
                    <a:ext uri="{FF2B5EF4-FFF2-40B4-BE49-F238E27FC236}">
                      <a16:creationId xmlns:a16="http://schemas.microsoft.com/office/drawing/2014/main" id="{F8583017-C58B-1F3E-D723-9309A3363F07}"/>
                    </a:ext>
                  </a:extLst>
                </p:cNvPr>
                <p:cNvSpPr/>
                <p:nvPr/>
              </p:nvSpPr>
              <p:spPr>
                <a:xfrm>
                  <a:off x="2641759" y="3993074"/>
                  <a:ext cx="30414" cy="30414"/>
                </a:xfrm>
                <a:custGeom>
                  <a:avLst/>
                  <a:gdLst>
                    <a:gd name="connsiteX0" fmla="*/ 0 w 198018"/>
                    <a:gd name="connsiteY0" fmla="*/ 0 h 198018"/>
                    <a:gd name="connsiteX1" fmla="*/ 198018 w 198018"/>
                    <a:gd name="connsiteY1" fmla="*/ 0 h 198018"/>
                    <a:gd name="connsiteX2" fmla="*/ 198018 w 198018"/>
                    <a:gd name="connsiteY2" fmla="*/ 198018 h 198018"/>
                    <a:gd name="connsiteX3" fmla="*/ 0 w 198018"/>
                    <a:gd name="connsiteY3" fmla="*/ 198018 h 198018"/>
                  </a:gdLst>
                  <a:ahLst/>
                  <a:cxnLst>
                    <a:cxn ang="0">
                      <a:pos x="connsiteX0" y="connsiteY0"/>
                    </a:cxn>
                    <a:cxn ang="0">
                      <a:pos x="connsiteX1" y="connsiteY1"/>
                    </a:cxn>
                    <a:cxn ang="0">
                      <a:pos x="connsiteX2" y="connsiteY2"/>
                    </a:cxn>
                    <a:cxn ang="0">
                      <a:pos x="connsiteX3" y="connsiteY3"/>
                    </a:cxn>
                  </a:cxnLst>
                  <a:rect l="l" t="t" r="r" b="b"/>
                  <a:pathLst>
                    <a:path w="198018" h="198018">
                      <a:moveTo>
                        <a:pt x="0" y="0"/>
                      </a:moveTo>
                      <a:lnTo>
                        <a:pt x="198018" y="0"/>
                      </a:lnTo>
                      <a:lnTo>
                        <a:pt x="198018" y="198018"/>
                      </a:lnTo>
                      <a:lnTo>
                        <a:pt x="0" y="198018"/>
                      </a:lnTo>
                      <a:close/>
                    </a:path>
                  </a:pathLst>
                </a:custGeom>
                <a:solidFill>
                  <a:srgbClr val="41728A"/>
                </a:solidFill>
                <a:ln w="59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sp>
          <p:nvSpPr>
            <p:cNvPr id="29" name="Rectangle 26">
              <a:extLst>
                <a:ext uri="{FF2B5EF4-FFF2-40B4-BE49-F238E27FC236}">
                  <a16:creationId xmlns:a16="http://schemas.microsoft.com/office/drawing/2014/main" id="{6C2C27DA-107B-F5C9-9C47-0572E3A31389}"/>
                </a:ext>
              </a:extLst>
            </p:cNvPr>
            <p:cNvSpPr/>
            <p:nvPr/>
          </p:nvSpPr>
          <p:spPr>
            <a:xfrm rot="5400000">
              <a:off x="10647233" y="1484800"/>
              <a:ext cx="596264" cy="101322"/>
            </a:xfrm>
            <a:custGeom>
              <a:avLst/>
              <a:gdLst>
                <a:gd name="connsiteX0" fmla="*/ 0 w 967105"/>
                <a:gd name="connsiteY0" fmla="*/ 0 h 540206"/>
                <a:gd name="connsiteX1" fmla="*/ 967105 w 967105"/>
                <a:gd name="connsiteY1" fmla="*/ 0 h 540206"/>
                <a:gd name="connsiteX2" fmla="*/ 967105 w 967105"/>
                <a:gd name="connsiteY2" fmla="*/ 540206 h 540206"/>
                <a:gd name="connsiteX3" fmla="*/ 0 w 967105"/>
                <a:gd name="connsiteY3" fmla="*/ 540206 h 540206"/>
                <a:gd name="connsiteX4" fmla="*/ 0 w 967105"/>
                <a:gd name="connsiteY4" fmla="*/ 0 h 540206"/>
                <a:gd name="connsiteX0" fmla="*/ 967105 w 1058545"/>
                <a:gd name="connsiteY0" fmla="*/ 540206 h 631646"/>
                <a:gd name="connsiteX1" fmla="*/ 0 w 1058545"/>
                <a:gd name="connsiteY1" fmla="*/ 540206 h 631646"/>
                <a:gd name="connsiteX2" fmla="*/ 0 w 1058545"/>
                <a:gd name="connsiteY2" fmla="*/ 0 h 631646"/>
                <a:gd name="connsiteX3" fmla="*/ 967105 w 1058545"/>
                <a:gd name="connsiteY3" fmla="*/ 0 h 631646"/>
                <a:gd name="connsiteX4" fmla="*/ 1058545 w 1058545"/>
                <a:gd name="connsiteY4" fmla="*/ 631646 h 631646"/>
                <a:gd name="connsiteX0" fmla="*/ 967105 w 967105"/>
                <a:gd name="connsiteY0" fmla="*/ 540206 h 540206"/>
                <a:gd name="connsiteX1" fmla="*/ 0 w 967105"/>
                <a:gd name="connsiteY1" fmla="*/ 540206 h 540206"/>
                <a:gd name="connsiteX2" fmla="*/ 0 w 967105"/>
                <a:gd name="connsiteY2" fmla="*/ 0 h 540206"/>
                <a:gd name="connsiteX3" fmla="*/ 967105 w 967105"/>
                <a:gd name="connsiteY3" fmla="*/ 0 h 540206"/>
                <a:gd name="connsiteX0" fmla="*/ 0 w 967105"/>
                <a:gd name="connsiteY0" fmla="*/ 540206 h 540206"/>
                <a:gd name="connsiteX1" fmla="*/ 0 w 967105"/>
                <a:gd name="connsiteY1" fmla="*/ 0 h 540206"/>
                <a:gd name="connsiteX2" fmla="*/ 967105 w 967105"/>
                <a:gd name="connsiteY2" fmla="*/ 0 h 540206"/>
              </a:gdLst>
              <a:ahLst/>
              <a:cxnLst>
                <a:cxn ang="0">
                  <a:pos x="connsiteX0" y="connsiteY0"/>
                </a:cxn>
                <a:cxn ang="0">
                  <a:pos x="connsiteX1" y="connsiteY1"/>
                </a:cxn>
                <a:cxn ang="0">
                  <a:pos x="connsiteX2" y="connsiteY2"/>
                </a:cxn>
              </a:cxnLst>
              <a:rect l="l" t="t" r="r" b="b"/>
              <a:pathLst>
                <a:path w="967105" h="540206">
                  <a:moveTo>
                    <a:pt x="0" y="540206"/>
                  </a:moveTo>
                  <a:lnTo>
                    <a:pt x="0" y="0"/>
                  </a:lnTo>
                  <a:lnTo>
                    <a:pt x="967105" y="0"/>
                  </a:lnTo>
                </a:path>
              </a:pathLst>
            </a:custGeom>
            <a:noFill/>
            <a:ln w="12700" cap="flat">
              <a:solidFill>
                <a:srgbClr val="FFFFFF">
                  <a:lumMod val="65000"/>
                </a:srgbClr>
              </a:solidFill>
              <a:miter lim="400000"/>
              <a:tailEnd type="triangle" w="med" len="sm"/>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0" name="Rectangle 26">
              <a:extLst>
                <a:ext uri="{FF2B5EF4-FFF2-40B4-BE49-F238E27FC236}">
                  <a16:creationId xmlns:a16="http://schemas.microsoft.com/office/drawing/2014/main" id="{8019E455-E897-F02E-71DD-82B65C49186C}"/>
                </a:ext>
              </a:extLst>
            </p:cNvPr>
            <p:cNvSpPr/>
            <p:nvPr/>
          </p:nvSpPr>
          <p:spPr>
            <a:xfrm rot="16200000" flipV="1">
              <a:off x="10757660" y="2395155"/>
              <a:ext cx="336790" cy="128790"/>
            </a:xfrm>
            <a:custGeom>
              <a:avLst/>
              <a:gdLst>
                <a:gd name="connsiteX0" fmla="*/ 0 w 967105"/>
                <a:gd name="connsiteY0" fmla="*/ 0 h 540206"/>
                <a:gd name="connsiteX1" fmla="*/ 967105 w 967105"/>
                <a:gd name="connsiteY1" fmla="*/ 0 h 540206"/>
                <a:gd name="connsiteX2" fmla="*/ 967105 w 967105"/>
                <a:gd name="connsiteY2" fmla="*/ 540206 h 540206"/>
                <a:gd name="connsiteX3" fmla="*/ 0 w 967105"/>
                <a:gd name="connsiteY3" fmla="*/ 540206 h 540206"/>
                <a:gd name="connsiteX4" fmla="*/ 0 w 967105"/>
                <a:gd name="connsiteY4" fmla="*/ 0 h 540206"/>
                <a:gd name="connsiteX0" fmla="*/ 967105 w 1058545"/>
                <a:gd name="connsiteY0" fmla="*/ 540206 h 631646"/>
                <a:gd name="connsiteX1" fmla="*/ 0 w 1058545"/>
                <a:gd name="connsiteY1" fmla="*/ 540206 h 631646"/>
                <a:gd name="connsiteX2" fmla="*/ 0 w 1058545"/>
                <a:gd name="connsiteY2" fmla="*/ 0 h 631646"/>
                <a:gd name="connsiteX3" fmla="*/ 967105 w 1058545"/>
                <a:gd name="connsiteY3" fmla="*/ 0 h 631646"/>
                <a:gd name="connsiteX4" fmla="*/ 1058545 w 1058545"/>
                <a:gd name="connsiteY4" fmla="*/ 631646 h 631646"/>
                <a:gd name="connsiteX0" fmla="*/ 967105 w 967105"/>
                <a:gd name="connsiteY0" fmla="*/ 540206 h 540206"/>
                <a:gd name="connsiteX1" fmla="*/ 0 w 967105"/>
                <a:gd name="connsiteY1" fmla="*/ 540206 h 540206"/>
                <a:gd name="connsiteX2" fmla="*/ 0 w 967105"/>
                <a:gd name="connsiteY2" fmla="*/ 0 h 540206"/>
                <a:gd name="connsiteX3" fmla="*/ 967105 w 967105"/>
                <a:gd name="connsiteY3" fmla="*/ 0 h 540206"/>
                <a:gd name="connsiteX0" fmla="*/ 0 w 967105"/>
                <a:gd name="connsiteY0" fmla="*/ 540206 h 540206"/>
                <a:gd name="connsiteX1" fmla="*/ 0 w 967105"/>
                <a:gd name="connsiteY1" fmla="*/ 0 h 540206"/>
                <a:gd name="connsiteX2" fmla="*/ 967105 w 967105"/>
                <a:gd name="connsiteY2" fmla="*/ 0 h 540206"/>
              </a:gdLst>
              <a:ahLst/>
              <a:cxnLst>
                <a:cxn ang="0">
                  <a:pos x="connsiteX0" y="connsiteY0"/>
                </a:cxn>
                <a:cxn ang="0">
                  <a:pos x="connsiteX1" y="connsiteY1"/>
                </a:cxn>
                <a:cxn ang="0">
                  <a:pos x="connsiteX2" y="connsiteY2"/>
                </a:cxn>
              </a:cxnLst>
              <a:rect l="l" t="t" r="r" b="b"/>
              <a:pathLst>
                <a:path w="967105" h="540206">
                  <a:moveTo>
                    <a:pt x="0" y="540206"/>
                  </a:moveTo>
                  <a:lnTo>
                    <a:pt x="0" y="0"/>
                  </a:lnTo>
                  <a:lnTo>
                    <a:pt x="967105" y="0"/>
                  </a:lnTo>
                </a:path>
              </a:pathLst>
            </a:custGeom>
            <a:noFill/>
            <a:ln w="12700" cap="flat">
              <a:solidFill>
                <a:srgbClr val="FFFFFF">
                  <a:lumMod val="65000"/>
                </a:srgbClr>
              </a:solidFill>
              <a:miter lim="400000"/>
              <a:tailEnd type="triangle" w="med" len="sm"/>
            </a:ln>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1">
                <a:lnSpc>
                  <a:spcPct val="100000"/>
                </a:lnSpc>
                <a:spcBef>
                  <a:spcPts val="0"/>
                </a:spcBef>
                <a:spcAft>
                  <a:spcPts val="0"/>
                </a:spcAft>
                <a:buClrTx/>
                <a:buSzTx/>
                <a:buFontTx/>
                <a:buNone/>
                <a:tabLst/>
                <a:defRPr/>
              </a:pPr>
              <a:endParaRPr kumimoji="0" lang="en-IN" sz="11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cxnSp>
          <p:nvCxnSpPr>
            <p:cNvPr id="31" name="Straight Connector 30">
              <a:extLst>
                <a:ext uri="{FF2B5EF4-FFF2-40B4-BE49-F238E27FC236}">
                  <a16:creationId xmlns:a16="http://schemas.microsoft.com/office/drawing/2014/main" id="{0E2963A5-5C42-5D92-726A-36D002FA6320}"/>
                </a:ext>
              </a:extLst>
            </p:cNvPr>
            <p:cNvCxnSpPr>
              <a:cxnSpLocks/>
            </p:cNvCxnSpPr>
            <p:nvPr/>
          </p:nvCxnSpPr>
          <p:spPr>
            <a:xfrm>
              <a:off x="11103340" y="1954831"/>
              <a:ext cx="240074" cy="0"/>
            </a:xfrm>
            <a:prstGeom prst="line">
              <a:avLst/>
            </a:prstGeom>
            <a:noFill/>
            <a:ln w="12700" cap="flat">
              <a:solidFill>
                <a:srgbClr val="FFFFFF">
                  <a:lumMod val="65000"/>
                </a:srgbClr>
              </a:solidFill>
              <a:prstDash val="dash"/>
              <a:miter lim="400000"/>
              <a:headEnd type="triangle" w="med" len="sm"/>
              <a:tailEnd type="triangle" w="med" len="sm"/>
            </a:ln>
            <a:effectLst/>
            <a:sp3d/>
          </p:spPr>
        </p:cxnSp>
        <p:grpSp>
          <p:nvGrpSpPr>
            <p:cNvPr id="32" name="Group 31">
              <a:extLst>
                <a:ext uri="{FF2B5EF4-FFF2-40B4-BE49-F238E27FC236}">
                  <a16:creationId xmlns:a16="http://schemas.microsoft.com/office/drawing/2014/main" id="{714B3BE2-80DC-9F14-59C5-7518E0011D12}"/>
                </a:ext>
              </a:extLst>
            </p:cNvPr>
            <p:cNvGrpSpPr/>
            <p:nvPr/>
          </p:nvGrpSpPr>
          <p:grpSpPr>
            <a:xfrm>
              <a:off x="11231731" y="1848798"/>
              <a:ext cx="483987" cy="405533"/>
              <a:chOff x="8022172" y="3115091"/>
              <a:chExt cx="1214120" cy="1017310"/>
            </a:xfrm>
          </p:grpSpPr>
          <p:sp>
            <p:nvSpPr>
              <p:cNvPr id="293" name="TextBox 292">
                <a:extLst>
                  <a:ext uri="{FF2B5EF4-FFF2-40B4-BE49-F238E27FC236}">
                    <a16:creationId xmlns:a16="http://schemas.microsoft.com/office/drawing/2014/main" id="{B1EAFCFD-D8B6-CE3D-4664-3BE0EDDDE82A}"/>
                  </a:ext>
                </a:extLst>
              </p:cNvPr>
              <p:cNvSpPr txBox="1"/>
              <p:nvPr/>
            </p:nvSpPr>
            <p:spPr>
              <a:xfrm>
                <a:off x="8022172" y="3631873"/>
                <a:ext cx="1214120" cy="500528"/>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Text"/>
                    <a:sym typeface="Helvetica Neue"/>
                  </a:rPr>
                  <a:t>Service Technician</a:t>
                </a:r>
              </a:p>
            </p:txBody>
          </p:sp>
          <p:grpSp>
            <p:nvGrpSpPr>
              <p:cNvPr id="294" name="Group 293">
                <a:extLst>
                  <a:ext uri="{FF2B5EF4-FFF2-40B4-BE49-F238E27FC236}">
                    <a16:creationId xmlns:a16="http://schemas.microsoft.com/office/drawing/2014/main" id="{99703BE7-377C-B645-7730-1B76EB36A42C}"/>
                  </a:ext>
                </a:extLst>
              </p:cNvPr>
              <p:cNvGrpSpPr/>
              <p:nvPr/>
            </p:nvGrpSpPr>
            <p:grpSpPr>
              <a:xfrm>
                <a:off x="8395676" y="3115091"/>
                <a:ext cx="527000" cy="510174"/>
                <a:chOff x="10518165" y="2831592"/>
                <a:chExt cx="527000" cy="510174"/>
              </a:xfrm>
            </p:grpSpPr>
            <p:sp>
              <p:nvSpPr>
                <p:cNvPr id="295" name="Freeform: Shape 294">
                  <a:extLst>
                    <a:ext uri="{FF2B5EF4-FFF2-40B4-BE49-F238E27FC236}">
                      <a16:creationId xmlns:a16="http://schemas.microsoft.com/office/drawing/2014/main" id="{C1199F2A-4BDA-3920-52E1-DA18AC6CF0F4}"/>
                    </a:ext>
                  </a:extLst>
                </p:cNvPr>
                <p:cNvSpPr/>
                <p:nvPr/>
              </p:nvSpPr>
              <p:spPr>
                <a:xfrm>
                  <a:off x="10729271" y="3310406"/>
                  <a:ext cx="31360" cy="31360"/>
                </a:xfrm>
                <a:custGeom>
                  <a:avLst/>
                  <a:gdLst>
                    <a:gd name="connsiteX0" fmla="*/ 719 w 31360"/>
                    <a:gd name="connsiteY0" fmla="*/ 47 h 31360"/>
                    <a:gd name="connsiteX1" fmla="*/ 32079 w 31360"/>
                    <a:gd name="connsiteY1" fmla="*/ 47 h 31360"/>
                    <a:gd name="connsiteX2" fmla="*/ 32079 w 31360"/>
                    <a:gd name="connsiteY2" fmla="*/ 31407 h 31360"/>
                    <a:gd name="connsiteX3" fmla="*/ 719 w 31360"/>
                    <a:gd name="connsiteY3" fmla="*/ 31407 h 31360"/>
                  </a:gdLst>
                  <a:ahLst/>
                  <a:cxnLst>
                    <a:cxn ang="0">
                      <a:pos x="connsiteX0" y="connsiteY0"/>
                    </a:cxn>
                    <a:cxn ang="0">
                      <a:pos x="connsiteX1" y="connsiteY1"/>
                    </a:cxn>
                    <a:cxn ang="0">
                      <a:pos x="connsiteX2" y="connsiteY2"/>
                    </a:cxn>
                    <a:cxn ang="0">
                      <a:pos x="connsiteX3" y="connsiteY3"/>
                    </a:cxn>
                  </a:cxnLst>
                  <a:rect l="l" t="t" r="r" b="b"/>
                  <a:pathLst>
                    <a:path w="31360" h="31360">
                      <a:moveTo>
                        <a:pt x="719" y="47"/>
                      </a:moveTo>
                      <a:lnTo>
                        <a:pt x="32079" y="47"/>
                      </a:lnTo>
                      <a:lnTo>
                        <a:pt x="32079" y="31407"/>
                      </a:lnTo>
                      <a:lnTo>
                        <a:pt x="719" y="31407"/>
                      </a:lnTo>
                      <a:close/>
                    </a:path>
                  </a:pathLst>
                </a:custGeom>
                <a:solidFill>
                  <a:srgbClr val="41728A"/>
                </a:solidFill>
                <a:ln w="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96" name="Freeform: Shape 295">
                  <a:extLst>
                    <a:ext uri="{FF2B5EF4-FFF2-40B4-BE49-F238E27FC236}">
                      <a16:creationId xmlns:a16="http://schemas.microsoft.com/office/drawing/2014/main" id="{1C5D6360-7215-6CEE-9D5B-57314EAAFE14}"/>
                    </a:ext>
                  </a:extLst>
                </p:cNvPr>
                <p:cNvSpPr/>
                <p:nvPr/>
              </p:nvSpPr>
              <p:spPr>
                <a:xfrm>
                  <a:off x="10994798" y="2985102"/>
                  <a:ext cx="31180" cy="31180"/>
                </a:xfrm>
                <a:custGeom>
                  <a:avLst/>
                  <a:gdLst>
                    <a:gd name="connsiteX0" fmla="*/ 719 w 31180"/>
                    <a:gd name="connsiteY0" fmla="*/ 15597 h 31180"/>
                    <a:gd name="connsiteX1" fmla="*/ 16268 w 31180"/>
                    <a:gd name="connsiteY1" fmla="*/ 47 h 31180"/>
                    <a:gd name="connsiteX2" fmla="*/ 31899 w 31180"/>
                    <a:gd name="connsiteY2" fmla="*/ 15678 h 31180"/>
                    <a:gd name="connsiteX3" fmla="*/ 16350 w 31180"/>
                    <a:gd name="connsiteY3" fmla="*/ 31227 h 31180"/>
                  </a:gdLst>
                  <a:ahLst/>
                  <a:cxnLst>
                    <a:cxn ang="0">
                      <a:pos x="connsiteX0" y="connsiteY0"/>
                    </a:cxn>
                    <a:cxn ang="0">
                      <a:pos x="connsiteX1" y="connsiteY1"/>
                    </a:cxn>
                    <a:cxn ang="0">
                      <a:pos x="connsiteX2" y="connsiteY2"/>
                    </a:cxn>
                    <a:cxn ang="0">
                      <a:pos x="connsiteX3" y="connsiteY3"/>
                    </a:cxn>
                  </a:cxnLst>
                  <a:rect l="l" t="t" r="r" b="b"/>
                  <a:pathLst>
                    <a:path w="31180" h="31180">
                      <a:moveTo>
                        <a:pt x="719" y="15597"/>
                      </a:moveTo>
                      <a:lnTo>
                        <a:pt x="16268" y="47"/>
                      </a:lnTo>
                      <a:lnTo>
                        <a:pt x="31899" y="15678"/>
                      </a:lnTo>
                      <a:lnTo>
                        <a:pt x="16350" y="31227"/>
                      </a:lnTo>
                      <a:close/>
                    </a:path>
                  </a:pathLst>
                </a:custGeom>
                <a:solidFill>
                  <a:srgbClr val="FFFFFF">
                    <a:lumMod val="85000"/>
                  </a:srgbClr>
                </a:solidFill>
                <a:ln w="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97" name="Freeform: Shape 296">
                  <a:extLst>
                    <a:ext uri="{FF2B5EF4-FFF2-40B4-BE49-F238E27FC236}">
                      <a16:creationId xmlns:a16="http://schemas.microsoft.com/office/drawing/2014/main" id="{AED9E891-8F21-A3CE-9E3E-B9ADCF380CDC}"/>
                    </a:ext>
                  </a:extLst>
                </p:cNvPr>
                <p:cNvSpPr/>
                <p:nvPr/>
              </p:nvSpPr>
              <p:spPr>
                <a:xfrm>
                  <a:off x="10626777" y="2831592"/>
                  <a:ext cx="236347" cy="236347"/>
                </a:xfrm>
                <a:custGeom>
                  <a:avLst/>
                  <a:gdLst>
                    <a:gd name="connsiteX0" fmla="*/ 122813 w 236347"/>
                    <a:gd name="connsiteY0" fmla="*/ 236331 h 236347"/>
                    <a:gd name="connsiteX1" fmla="*/ 783 w 236347"/>
                    <a:gd name="connsiteY1" fmla="*/ 114296 h 236347"/>
                    <a:gd name="connsiteX2" fmla="*/ 114974 w 236347"/>
                    <a:gd name="connsiteY2" fmla="*/ 111 h 236347"/>
                    <a:gd name="connsiteX3" fmla="*/ 237003 w 236347"/>
                    <a:gd name="connsiteY3" fmla="*/ 122145 h 236347"/>
                    <a:gd name="connsiteX4" fmla="*/ 122813 w 236347"/>
                    <a:gd name="connsiteY4" fmla="*/ 236340 h 236347"/>
                    <a:gd name="connsiteX5" fmla="*/ 122086 w 236347"/>
                    <a:gd name="connsiteY5" fmla="*/ 22108 h 236347"/>
                    <a:gd name="connsiteX6" fmla="*/ 22788 w 236347"/>
                    <a:gd name="connsiteY6" fmla="*/ 121408 h 236347"/>
                    <a:gd name="connsiteX7" fmla="*/ 115710 w 236347"/>
                    <a:gd name="connsiteY7" fmla="*/ 214325 h 236347"/>
                    <a:gd name="connsiteX8" fmla="*/ 215008 w 236347"/>
                    <a:gd name="connsiteY8" fmla="*/ 115024 h 236347"/>
                    <a:gd name="connsiteX9" fmla="*/ 122095 w 236347"/>
                    <a:gd name="connsiteY9" fmla="*/ 22108 h 236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347" h="236347">
                      <a:moveTo>
                        <a:pt x="122813" y="236331"/>
                      </a:moveTo>
                      <a:cubicBezTo>
                        <a:pt x="54557" y="238552"/>
                        <a:pt x="-1438" y="182555"/>
                        <a:pt x="783" y="114296"/>
                      </a:cubicBezTo>
                      <a:cubicBezTo>
                        <a:pt x="2793" y="52374"/>
                        <a:pt x="53055" y="2121"/>
                        <a:pt x="114974" y="111"/>
                      </a:cubicBezTo>
                      <a:cubicBezTo>
                        <a:pt x="183220" y="-2110"/>
                        <a:pt x="239214" y="53887"/>
                        <a:pt x="237003" y="122145"/>
                      </a:cubicBezTo>
                      <a:cubicBezTo>
                        <a:pt x="234993" y="184067"/>
                        <a:pt x="184742" y="234321"/>
                        <a:pt x="122813" y="236340"/>
                      </a:cubicBezTo>
                      <a:close/>
                      <a:moveTo>
                        <a:pt x="122086" y="22108"/>
                      </a:moveTo>
                      <a:cubicBezTo>
                        <a:pt x="66550" y="20298"/>
                        <a:pt x="20979" y="65871"/>
                        <a:pt x="22788" y="121408"/>
                      </a:cubicBezTo>
                      <a:cubicBezTo>
                        <a:pt x="24425" y="171796"/>
                        <a:pt x="65326" y="212688"/>
                        <a:pt x="115710" y="214325"/>
                      </a:cubicBezTo>
                      <a:cubicBezTo>
                        <a:pt x="171246" y="216134"/>
                        <a:pt x="216807" y="170561"/>
                        <a:pt x="215008" y="115024"/>
                      </a:cubicBezTo>
                      <a:cubicBezTo>
                        <a:pt x="213371" y="64636"/>
                        <a:pt x="172480" y="23744"/>
                        <a:pt x="122095" y="22108"/>
                      </a:cubicBezTo>
                      <a:close/>
                    </a:path>
                  </a:pathLst>
                </a:custGeom>
                <a:solidFill>
                  <a:srgbClr val="FFFFFF">
                    <a:lumMod val="85000"/>
                  </a:srgbClr>
                </a:solidFill>
                <a:ln w="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98" name="Freeform: Shape 297">
                  <a:extLst>
                    <a:ext uri="{FF2B5EF4-FFF2-40B4-BE49-F238E27FC236}">
                      <a16:creationId xmlns:a16="http://schemas.microsoft.com/office/drawing/2014/main" id="{EE9A0F20-7688-5440-57C4-0DAAF2B0C28B}"/>
                    </a:ext>
                  </a:extLst>
                </p:cNvPr>
                <p:cNvSpPr/>
                <p:nvPr/>
              </p:nvSpPr>
              <p:spPr>
                <a:xfrm>
                  <a:off x="10518165" y="3099300"/>
                  <a:ext cx="453572" cy="238642"/>
                </a:xfrm>
                <a:custGeom>
                  <a:avLst/>
                  <a:gdLst>
                    <a:gd name="connsiteX0" fmla="*/ 227505 w 453572"/>
                    <a:gd name="connsiteY0" fmla="*/ 47 h 238642"/>
                    <a:gd name="connsiteX1" fmla="*/ 387864 w 453572"/>
                    <a:gd name="connsiteY1" fmla="*/ 66561 h 238642"/>
                    <a:gd name="connsiteX2" fmla="*/ 454292 w 453572"/>
                    <a:gd name="connsiteY2" fmla="*/ 227125 h 238642"/>
                    <a:gd name="connsiteX3" fmla="*/ 454292 w 453572"/>
                    <a:gd name="connsiteY3" fmla="*/ 238689 h 238642"/>
                    <a:gd name="connsiteX4" fmla="*/ 332207 w 453572"/>
                    <a:gd name="connsiteY4" fmla="*/ 238689 h 238642"/>
                    <a:gd name="connsiteX5" fmla="*/ 332207 w 453572"/>
                    <a:gd name="connsiteY5" fmla="*/ 215571 h 238642"/>
                    <a:gd name="connsiteX6" fmla="*/ 430879 w 453572"/>
                    <a:gd name="connsiteY6" fmla="*/ 215571 h 238642"/>
                    <a:gd name="connsiteX7" fmla="*/ 227505 w 453572"/>
                    <a:gd name="connsiteY7" fmla="*/ 23165 h 238642"/>
                    <a:gd name="connsiteX8" fmla="*/ 24132 w 453572"/>
                    <a:gd name="connsiteY8" fmla="*/ 215571 h 238642"/>
                    <a:gd name="connsiteX9" fmla="*/ 122804 w 453572"/>
                    <a:gd name="connsiteY9" fmla="*/ 215571 h 238642"/>
                    <a:gd name="connsiteX10" fmla="*/ 122804 w 453572"/>
                    <a:gd name="connsiteY10" fmla="*/ 238689 h 238642"/>
                    <a:gd name="connsiteX11" fmla="*/ 719 w 453572"/>
                    <a:gd name="connsiteY11" fmla="*/ 238689 h 238642"/>
                    <a:gd name="connsiteX12" fmla="*/ 719 w 453572"/>
                    <a:gd name="connsiteY12" fmla="*/ 227125 h 238642"/>
                    <a:gd name="connsiteX13" fmla="*/ 67147 w 453572"/>
                    <a:gd name="connsiteY13" fmla="*/ 66561 h 238642"/>
                    <a:gd name="connsiteX14" fmla="*/ 227505 w 453572"/>
                    <a:gd name="connsiteY14" fmla="*/ 47 h 238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3572" h="238642">
                      <a:moveTo>
                        <a:pt x="227505" y="47"/>
                      </a:moveTo>
                      <a:cubicBezTo>
                        <a:pt x="288078" y="47"/>
                        <a:pt x="345030" y="23672"/>
                        <a:pt x="387864" y="66561"/>
                      </a:cubicBezTo>
                      <a:cubicBezTo>
                        <a:pt x="430707" y="109449"/>
                        <a:pt x="454292" y="166475"/>
                        <a:pt x="454292" y="227125"/>
                      </a:cubicBezTo>
                      <a:lnTo>
                        <a:pt x="454292" y="238689"/>
                      </a:lnTo>
                      <a:lnTo>
                        <a:pt x="332207" y="238689"/>
                      </a:lnTo>
                      <a:lnTo>
                        <a:pt x="332207" y="215571"/>
                      </a:lnTo>
                      <a:lnTo>
                        <a:pt x="430879" y="215571"/>
                      </a:lnTo>
                      <a:cubicBezTo>
                        <a:pt x="424880" y="108464"/>
                        <a:pt x="335955" y="23165"/>
                        <a:pt x="227505" y="23165"/>
                      </a:cubicBezTo>
                      <a:cubicBezTo>
                        <a:pt x="119056" y="23165"/>
                        <a:pt x="30131" y="108464"/>
                        <a:pt x="24132" y="215571"/>
                      </a:cubicBezTo>
                      <a:lnTo>
                        <a:pt x="122804" y="215571"/>
                      </a:lnTo>
                      <a:lnTo>
                        <a:pt x="122804" y="238689"/>
                      </a:lnTo>
                      <a:lnTo>
                        <a:pt x="719" y="238689"/>
                      </a:lnTo>
                      <a:lnTo>
                        <a:pt x="719" y="227125"/>
                      </a:lnTo>
                      <a:cubicBezTo>
                        <a:pt x="719" y="166475"/>
                        <a:pt x="24304" y="109449"/>
                        <a:pt x="67147" y="66561"/>
                      </a:cubicBezTo>
                      <a:cubicBezTo>
                        <a:pt x="109981" y="23672"/>
                        <a:pt x="166933" y="47"/>
                        <a:pt x="227505" y="47"/>
                      </a:cubicBezTo>
                      <a:close/>
                    </a:path>
                  </a:pathLst>
                </a:custGeom>
                <a:solidFill>
                  <a:srgbClr val="FFFFFF">
                    <a:lumMod val="85000"/>
                  </a:srgbClr>
                </a:solidFill>
                <a:ln w="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99" name="Freeform: Shape 298">
                  <a:extLst>
                    <a:ext uri="{FF2B5EF4-FFF2-40B4-BE49-F238E27FC236}">
                      <a16:creationId xmlns:a16="http://schemas.microsoft.com/office/drawing/2014/main" id="{4A4A7C0A-B701-7957-6508-CFB07D6A4B58}"/>
                    </a:ext>
                  </a:extLst>
                </p:cNvPr>
                <p:cNvSpPr/>
                <p:nvPr/>
              </p:nvSpPr>
              <p:spPr>
                <a:xfrm>
                  <a:off x="10857770" y="2970800"/>
                  <a:ext cx="187395" cy="201927"/>
                </a:xfrm>
                <a:custGeom>
                  <a:avLst/>
                  <a:gdLst>
                    <a:gd name="connsiteX0" fmla="*/ 150945 w 187395"/>
                    <a:gd name="connsiteY0" fmla="*/ 91882 h 201927"/>
                    <a:gd name="connsiteX1" fmla="*/ 99279 w 187395"/>
                    <a:gd name="connsiteY1" fmla="*/ 97479 h 201927"/>
                    <a:gd name="connsiteX2" fmla="*/ 93819 w 187395"/>
                    <a:gd name="connsiteY2" fmla="*/ 45955 h 201927"/>
                    <a:gd name="connsiteX3" fmla="*/ 130950 w 187395"/>
                    <a:gd name="connsiteY3" fmla="*/ 47 h 201927"/>
                    <a:gd name="connsiteX4" fmla="*/ 38060 w 187395"/>
                    <a:gd name="connsiteY4" fmla="*/ 29184 h 201927"/>
                    <a:gd name="connsiteX5" fmla="*/ 8723 w 187395"/>
                    <a:gd name="connsiteY5" fmla="*/ 65443 h 201927"/>
                    <a:gd name="connsiteX6" fmla="*/ 15129 w 187395"/>
                    <a:gd name="connsiteY6" fmla="*/ 125014 h 201927"/>
                    <a:gd name="connsiteX7" fmla="*/ 719 w 187395"/>
                    <a:gd name="connsiteY7" fmla="*/ 142834 h 201927"/>
                    <a:gd name="connsiteX8" fmla="*/ 11008 w 187395"/>
                    <a:gd name="connsiteY8" fmla="*/ 148345 h 201927"/>
                    <a:gd name="connsiteX9" fmla="*/ 27045 w 187395"/>
                    <a:gd name="connsiteY9" fmla="*/ 128513 h 201927"/>
                    <a:gd name="connsiteX10" fmla="*/ 20647 w 187395"/>
                    <a:gd name="connsiteY10" fmla="*/ 68933 h 201927"/>
                    <a:gd name="connsiteX11" fmla="*/ 44811 w 187395"/>
                    <a:gd name="connsiteY11" fmla="*/ 39062 h 201927"/>
                    <a:gd name="connsiteX12" fmla="*/ 98199 w 187395"/>
                    <a:gd name="connsiteY12" fmla="*/ 22310 h 201927"/>
                    <a:gd name="connsiteX13" fmla="*/ 81904 w 187395"/>
                    <a:gd name="connsiteY13" fmla="*/ 42456 h 201927"/>
                    <a:gd name="connsiteX14" fmla="*/ 89085 w 187395"/>
                    <a:gd name="connsiteY14" fmla="*/ 110092 h 201927"/>
                    <a:gd name="connsiteX15" fmla="*/ 156902 w 187395"/>
                    <a:gd name="connsiteY15" fmla="*/ 102751 h 201927"/>
                    <a:gd name="connsiteX16" fmla="*/ 173149 w 187395"/>
                    <a:gd name="connsiteY16" fmla="*/ 82662 h 201927"/>
                    <a:gd name="connsiteX17" fmla="*/ 167928 w 187395"/>
                    <a:gd name="connsiteY17" fmla="*/ 138276 h 201927"/>
                    <a:gd name="connsiteX18" fmla="*/ 143907 w 187395"/>
                    <a:gd name="connsiteY18" fmla="*/ 167975 h 201927"/>
                    <a:gd name="connsiteX19" fmla="*/ 84170 w 187395"/>
                    <a:gd name="connsiteY19" fmla="*/ 174449 h 201927"/>
                    <a:gd name="connsiteX20" fmla="*/ 68823 w 187395"/>
                    <a:gd name="connsiteY20" fmla="*/ 193423 h 201927"/>
                    <a:gd name="connsiteX21" fmla="*/ 76635 w 187395"/>
                    <a:gd name="connsiteY21" fmla="*/ 201975 h 201927"/>
                    <a:gd name="connsiteX22" fmla="*/ 90118 w 187395"/>
                    <a:gd name="connsiteY22" fmla="*/ 185309 h 201927"/>
                    <a:gd name="connsiteX23" fmla="*/ 149864 w 187395"/>
                    <a:gd name="connsiteY23" fmla="*/ 178845 h 201927"/>
                    <a:gd name="connsiteX24" fmla="*/ 179030 w 187395"/>
                    <a:gd name="connsiteY24" fmla="*/ 142776 h 201927"/>
                    <a:gd name="connsiteX25" fmla="*/ 188114 w 187395"/>
                    <a:gd name="connsiteY25" fmla="*/ 45926 h 201927"/>
                    <a:gd name="connsiteX26" fmla="*/ 150945 w 187395"/>
                    <a:gd name="connsiteY26" fmla="*/ 91882 h 20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7395" h="201927">
                      <a:moveTo>
                        <a:pt x="150945" y="91882"/>
                      </a:moveTo>
                      <a:lnTo>
                        <a:pt x="99279" y="97479"/>
                      </a:lnTo>
                      <a:lnTo>
                        <a:pt x="93819" y="45955"/>
                      </a:lnTo>
                      <a:lnTo>
                        <a:pt x="130950" y="47"/>
                      </a:lnTo>
                      <a:lnTo>
                        <a:pt x="38060" y="29184"/>
                      </a:lnTo>
                      <a:lnTo>
                        <a:pt x="8723" y="65443"/>
                      </a:lnTo>
                      <a:lnTo>
                        <a:pt x="15129" y="125014"/>
                      </a:lnTo>
                      <a:lnTo>
                        <a:pt x="719" y="142834"/>
                      </a:lnTo>
                      <a:cubicBezTo>
                        <a:pt x="4190" y="144588"/>
                        <a:pt x="7623" y="146428"/>
                        <a:pt x="11008" y="148345"/>
                      </a:cubicBezTo>
                      <a:lnTo>
                        <a:pt x="27045" y="128513"/>
                      </a:lnTo>
                      <a:lnTo>
                        <a:pt x="20647" y="68933"/>
                      </a:lnTo>
                      <a:lnTo>
                        <a:pt x="44811" y="39062"/>
                      </a:lnTo>
                      <a:lnTo>
                        <a:pt x="98199" y="22310"/>
                      </a:lnTo>
                      <a:lnTo>
                        <a:pt x="81904" y="42456"/>
                      </a:lnTo>
                      <a:lnTo>
                        <a:pt x="89085" y="110092"/>
                      </a:lnTo>
                      <a:lnTo>
                        <a:pt x="156902" y="102751"/>
                      </a:lnTo>
                      <a:lnTo>
                        <a:pt x="173149" y="82662"/>
                      </a:lnTo>
                      <a:lnTo>
                        <a:pt x="167928" y="138276"/>
                      </a:lnTo>
                      <a:lnTo>
                        <a:pt x="143907" y="167975"/>
                      </a:lnTo>
                      <a:lnTo>
                        <a:pt x="84170" y="174449"/>
                      </a:lnTo>
                      <a:lnTo>
                        <a:pt x="68823" y="193423"/>
                      </a:lnTo>
                      <a:cubicBezTo>
                        <a:pt x="71500" y="196226"/>
                        <a:pt x="74101" y="199077"/>
                        <a:pt x="76635" y="201975"/>
                      </a:cubicBezTo>
                      <a:lnTo>
                        <a:pt x="90118" y="185309"/>
                      </a:lnTo>
                      <a:lnTo>
                        <a:pt x="149864" y="178845"/>
                      </a:lnTo>
                      <a:lnTo>
                        <a:pt x="179030" y="142776"/>
                      </a:lnTo>
                      <a:lnTo>
                        <a:pt x="188114" y="45926"/>
                      </a:lnTo>
                      <a:lnTo>
                        <a:pt x="150945" y="91882"/>
                      </a:lnTo>
                      <a:close/>
                    </a:path>
                  </a:pathLst>
                </a:custGeom>
                <a:solidFill>
                  <a:srgbClr val="41728A"/>
                </a:solidFill>
                <a:ln w="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00" name="Freeform: Shape 299">
                  <a:extLst>
                    <a:ext uri="{FF2B5EF4-FFF2-40B4-BE49-F238E27FC236}">
                      <a16:creationId xmlns:a16="http://schemas.microsoft.com/office/drawing/2014/main" id="{5D41779A-D87C-0AB8-92DF-E2A5AECEFCF8}"/>
                    </a:ext>
                  </a:extLst>
                </p:cNvPr>
                <p:cNvSpPr/>
                <p:nvPr/>
              </p:nvSpPr>
              <p:spPr>
                <a:xfrm>
                  <a:off x="10635191" y="3314231"/>
                  <a:ext cx="82606" cy="23711"/>
                </a:xfrm>
                <a:custGeom>
                  <a:avLst/>
                  <a:gdLst>
                    <a:gd name="connsiteX0" fmla="*/ 719 w 82606"/>
                    <a:gd name="connsiteY0" fmla="*/ 47 h 23711"/>
                    <a:gd name="connsiteX1" fmla="*/ 83326 w 82606"/>
                    <a:gd name="connsiteY1" fmla="*/ 47 h 23711"/>
                    <a:gd name="connsiteX2" fmla="*/ 83326 w 82606"/>
                    <a:gd name="connsiteY2" fmla="*/ 23758 h 23711"/>
                    <a:gd name="connsiteX3" fmla="*/ 719 w 82606"/>
                    <a:gd name="connsiteY3" fmla="*/ 23758 h 23711"/>
                    <a:gd name="connsiteX4" fmla="*/ 719 w 82606"/>
                    <a:gd name="connsiteY4" fmla="*/ 47 h 23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06" h="23711">
                      <a:moveTo>
                        <a:pt x="719" y="47"/>
                      </a:moveTo>
                      <a:lnTo>
                        <a:pt x="83326" y="47"/>
                      </a:lnTo>
                      <a:lnTo>
                        <a:pt x="83326" y="23758"/>
                      </a:lnTo>
                      <a:lnTo>
                        <a:pt x="719" y="23758"/>
                      </a:lnTo>
                      <a:lnTo>
                        <a:pt x="719" y="47"/>
                      </a:lnTo>
                      <a:close/>
                    </a:path>
                  </a:pathLst>
                </a:custGeom>
                <a:gradFill>
                  <a:gsLst>
                    <a:gs pos="0">
                      <a:srgbClr val="FFFFFF"/>
                    </a:gs>
                    <a:gs pos="100000">
                      <a:srgbClr val="FFFFFF">
                        <a:lumMod val="85000"/>
                      </a:srgbClr>
                    </a:gs>
                  </a:gsLst>
                  <a:lin ang="10800000" scaled="1"/>
                </a:gradFill>
                <a:ln w="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01" name="Freeform: Shape 300">
                  <a:extLst>
                    <a:ext uri="{FF2B5EF4-FFF2-40B4-BE49-F238E27FC236}">
                      <a16:creationId xmlns:a16="http://schemas.microsoft.com/office/drawing/2014/main" id="{2EEA21C2-7FA1-059B-E259-43AFEF9C68ED}"/>
                    </a:ext>
                  </a:extLst>
                </p:cNvPr>
                <p:cNvSpPr/>
                <p:nvPr/>
              </p:nvSpPr>
              <p:spPr>
                <a:xfrm>
                  <a:off x="10772104" y="3314231"/>
                  <a:ext cx="82606" cy="23711"/>
                </a:xfrm>
                <a:custGeom>
                  <a:avLst/>
                  <a:gdLst>
                    <a:gd name="connsiteX0" fmla="*/ 719 w 82606"/>
                    <a:gd name="connsiteY0" fmla="*/ 47 h 23711"/>
                    <a:gd name="connsiteX1" fmla="*/ 83326 w 82606"/>
                    <a:gd name="connsiteY1" fmla="*/ 47 h 23711"/>
                    <a:gd name="connsiteX2" fmla="*/ 83326 w 82606"/>
                    <a:gd name="connsiteY2" fmla="*/ 23758 h 23711"/>
                    <a:gd name="connsiteX3" fmla="*/ 719 w 82606"/>
                    <a:gd name="connsiteY3" fmla="*/ 23758 h 23711"/>
                    <a:gd name="connsiteX4" fmla="*/ 719 w 82606"/>
                    <a:gd name="connsiteY4" fmla="*/ 47 h 23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06" h="23711">
                      <a:moveTo>
                        <a:pt x="719" y="47"/>
                      </a:moveTo>
                      <a:lnTo>
                        <a:pt x="83326" y="47"/>
                      </a:lnTo>
                      <a:lnTo>
                        <a:pt x="83326" y="23758"/>
                      </a:lnTo>
                      <a:lnTo>
                        <a:pt x="719" y="23758"/>
                      </a:lnTo>
                      <a:lnTo>
                        <a:pt x="719" y="47"/>
                      </a:lnTo>
                      <a:close/>
                    </a:path>
                  </a:pathLst>
                </a:custGeom>
                <a:gradFill>
                  <a:gsLst>
                    <a:gs pos="0">
                      <a:srgbClr val="FFFFFF"/>
                    </a:gs>
                    <a:gs pos="100000">
                      <a:srgbClr val="FFFFFF">
                        <a:lumMod val="85000"/>
                      </a:srgbClr>
                    </a:gs>
                  </a:gsLst>
                  <a:lin ang="0" scaled="1"/>
                </a:gradFill>
                <a:ln w="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302" name="Freeform: Shape 301">
                  <a:extLst>
                    <a:ext uri="{FF2B5EF4-FFF2-40B4-BE49-F238E27FC236}">
                      <a16:creationId xmlns:a16="http://schemas.microsoft.com/office/drawing/2014/main" id="{E1A8EF7E-45F0-0171-4C62-CDCA1C10BF97}"/>
                    </a:ext>
                  </a:extLst>
                </p:cNvPr>
                <p:cNvSpPr/>
                <p:nvPr/>
              </p:nvSpPr>
              <p:spPr>
                <a:xfrm>
                  <a:off x="10802789" y="3162395"/>
                  <a:ext cx="70369" cy="49718"/>
                </a:xfrm>
                <a:custGeom>
                  <a:avLst/>
                  <a:gdLst>
                    <a:gd name="connsiteX0" fmla="*/ 1315 w 70369"/>
                    <a:gd name="connsiteY0" fmla="*/ 1756 h 49718"/>
                    <a:gd name="connsiteX1" fmla="*/ 1315 w 70369"/>
                    <a:gd name="connsiteY1" fmla="*/ 1756 h 49718"/>
                    <a:gd name="connsiteX2" fmla="*/ 3609 w 70369"/>
                    <a:gd name="connsiteY2" fmla="*/ 7182 h 49718"/>
                    <a:gd name="connsiteX3" fmla="*/ 14461 w 70369"/>
                    <a:gd name="connsiteY3" fmla="*/ 10556 h 49718"/>
                    <a:gd name="connsiteX4" fmla="*/ 19028 w 70369"/>
                    <a:gd name="connsiteY4" fmla="*/ 9243 h 49718"/>
                    <a:gd name="connsiteX5" fmla="*/ 19028 w 70369"/>
                    <a:gd name="connsiteY5" fmla="*/ 9243 h 49718"/>
                    <a:gd name="connsiteX6" fmla="*/ 17289 w 70369"/>
                    <a:gd name="connsiteY6" fmla="*/ 3816 h 49718"/>
                    <a:gd name="connsiteX7" fmla="*/ 5580 w 70369"/>
                    <a:gd name="connsiteY7" fmla="*/ 172 h 49718"/>
                    <a:gd name="connsiteX8" fmla="*/ 1315 w 70369"/>
                    <a:gd name="connsiteY8" fmla="*/ 1742 h 49718"/>
                    <a:gd name="connsiteX9" fmla="*/ 70454 w 70369"/>
                    <a:gd name="connsiteY9" fmla="*/ 44201 h 49718"/>
                    <a:gd name="connsiteX10" fmla="*/ 31968 w 70369"/>
                    <a:gd name="connsiteY10" fmla="*/ 10421 h 49718"/>
                    <a:gd name="connsiteX11" fmla="*/ 26818 w 70369"/>
                    <a:gd name="connsiteY11" fmla="*/ 11487 h 49718"/>
                    <a:gd name="connsiteX12" fmla="*/ 26818 w 70369"/>
                    <a:gd name="connsiteY12" fmla="*/ 11487 h 49718"/>
                    <a:gd name="connsiteX13" fmla="*/ 28078 w 70369"/>
                    <a:gd name="connsiteY13" fmla="*/ 16678 h 49718"/>
                    <a:gd name="connsiteX14" fmla="*/ 63944 w 70369"/>
                    <a:gd name="connsiteY14" fmla="*/ 48121 h 49718"/>
                    <a:gd name="connsiteX15" fmla="*/ 70094 w 70369"/>
                    <a:gd name="connsiteY15" fmla="*/ 48569 h 49718"/>
                    <a:gd name="connsiteX16" fmla="*/ 70094 w 70369"/>
                    <a:gd name="connsiteY16" fmla="*/ 48569 h 49718"/>
                    <a:gd name="connsiteX17" fmla="*/ 70468 w 70369"/>
                    <a:gd name="connsiteY17" fmla="*/ 44201 h 49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0369" h="49718">
                      <a:moveTo>
                        <a:pt x="1315" y="1756"/>
                      </a:moveTo>
                      <a:lnTo>
                        <a:pt x="1315" y="1756"/>
                      </a:lnTo>
                      <a:cubicBezTo>
                        <a:pt x="-77" y="3830"/>
                        <a:pt x="1084" y="6529"/>
                        <a:pt x="3609" y="7182"/>
                      </a:cubicBezTo>
                      <a:cubicBezTo>
                        <a:pt x="7311" y="8135"/>
                        <a:pt x="10935" y="9256"/>
                        <a:pt x="14461" y="10556"/>
                      </a:cubicBezTo>
                      <a:cubicBezTo>
                        <a:pt x="16114" y="11167"/>
                        <a:pt x="18014" y="10621"/>
                        <a:pt x="19028" y="9243"/>
                      </a:cubicBezTo>
                      <a:lnTo>
                        <a:pt x="19028" y="9243"/>
                      </a:lnTo>
                      <a:cubicBezTo>
                        <a:pt x="20450" y="7339"/>
                        <a:pt x="19612" y="4668"/>
                        <a:pt x="17289" y="3816"/>
                      </a:cubicBezTo>
                      <a:cubicBezTo>
                        <a:pt x="13490" y="2402"/>
                        <a:pt x="9577" y="1188"/>
                        <a:pt x="5580" y="172"/>
                      </a:cubicBezTo>
                      <a:cubicBezTo>
                        <a:pt x="3947" y="-246"/>
                        <a:pt x="2210" y="414"/>
                        <a:pt x="1315" y="1742"/>
                      </a:cubicBezTo>
                      <a:close/>
                      <a:moveTo>
                        <a:pt x="70454" y="44201"/>
                      </a:moveTo>
                      <a:cubicBezTo>
                        <a:pt x="60672" y="30323"/>
                        <a:pt x="47464" y="18716"/>
                        <a:pt x="31968" y="10421"/>
                      </a:cubicBezTo>
                      <a:cubicBezTo>
                        <a:pt x="30210" y="9484"/>
                        <a:pt x="27971" y="9938"/>
                        <a:pt x="26818" y="11487"/>
                      </a:cubicBezTo>
                      <a:lnTo>
                        <a:pt x="26818" y="11487"/>
                      </a:lnTo>
                      <a:cubicBezTo>
                        <a:pt x="25522" y="13234"/>
                        <a:pt x="26107" y="15634"/>
                        <a:pt x="28078" y="16678"/>
                      </a:cubicBezTo>
                      <a:cubicBezTo>
                        <a:pt x="42510" y="24399"/>
                        <a:pt x="54817" y="35202"/>
                        <a:pt x="63944" y="48121"/>
                      </a:cubicBezTo>
                      <a:cubicBezTo>
                        <a:pt x="65359" y="50110"/>
                        <a:pt x="68385" y="50337"/>
                        <a:pt x="70094" y="48569"/>
                      </a:cubicBezTo>
                      <a:lnTo>
                        <a:pt x="70094" y="48569"/>
                      </a:lnTo>
                      <a:cubicBezTo>
                        <a:pt x="71256" y="47347"/>
                        <a:pt x="71424" y="45550"/>
                        <a:pt x="70468" y="44201"/>
                      </a:cubicBezTo>
                      <a:close/>
                    </a:path>
                  </a:pathLst>
                </a:custGeom>
                <a:solidFill>
                  <a:srgbClr val="41728A"/>
                </a:solidFill>
                <a:ln w="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grpSp>
          <p:nvGrpSpPr>
            <p:cNvPr id="33" name="Group 32">
              <a:extLst>
                <a:ext uri="{FF2B5EF4-FFF2-40B4-BE49-F238E27FC236}">
                  <a16:creationId xmlns:a16="http://schemas.microsoft.com/office/drawing/2014/main" id="{F9E343AC-E0A1-B665-BBE1-63ADCB54CE4A}"/>
                </a:ext>
              </a:extLst>
            </p:cNvPr>
            <p:cNvGrpSpPr/>
            <p:nvPr/>
          </p:nvGrpSpPr>
          <p:grpSpPr>
            <a:xfrm>
              <a:off x="10739390" y="1855509"/>
              <a:ext cx="483987" cy="390844"/>
              <a:chOff x="6751844" y="3151940"/>
              <a:chExt cx="1214120" cy="980464"/>
            </a:xfrm>
          </p:grpSpPr>
          <p:sp>
            <p:nvSpPr>
              <p:cNvPr id="261" name="TextBox 260">
                <a:extLst>
                  <a:ext uri="{FF2B5EF4-FFF2-40B4-BE49-F238E27FC236}">
                    <a16:creationId xmlns:a16="http://schemas.microsoft.com/office/drawing/2014/main" id="{88E90162-622B-86D8-E640-6FCE6874E0C3}"/>
                  </a:ext>
                </a:extLst>
              </p:cNvPr>
              <p:cNvSpPr txBox="1"/>
              <p:nvPr/>
            </p:nvSpPr>
            <p:spPr>
              <a:xfrm>
                <a:off x="6751844" y="3631875"/>
                <a:ext cx="1214120" cy="500529"/>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Text"/>
                    <a:sym typeface="Helvetica Neue"/>
                  </a:rPr>
                  <a:t>Technician Apps</a:t>
                </a:r>
              </a:p>
            </p:txBody>
          </p:sp>
          <p:grpSp>
            <p:nvGrpSpPr>
              <p:cNvPr id="262" name="Group 261">
                <a:extLst>
                  <a:ext uri="{FF2B5EF4-FFF2-40B4-BE49-F238E27FC236}">
                    <a16:creationId xmlns:a16="http://schemas.microsoft.com/office/drawing/2014/main" id="{2C0D9B03-B063-A25A-7D17-38AD07521407}"/>
                  </a:ext>
                </a:extLst>
              </p:cNvPr>
              <p:cNvGrpSpPr/>
              <p:nvPr/>
            </p:nvGrpSpPr>
            <p:grpSpPr>
              <a:xfrm>
                <a:off x="7109052" y="3151940"/>
                <a:ext cx="499705" cy="436477"/>
                <a:chOff x="9149120" y="2872695"/>
                <a:chExt cx="499705" cy="436477"/>
              </a:xfrm>
            </p:grpSpPr>
            <p:sp>
              <p:nvSpPr>
                <p:cNvPr id="263" name="Freeform: Shape 262">
                  <a:extLst>
                    <a:ext uri="{FF2B5EF4-FFF2-40B4-BE49-F238E27FC236}">
                      <a16:creationId xmlns:a16="http://schemas.microsoft.com/office/drawing/2014/main" id="{6C58E441-A30E-A5EC-84C5-77F52E6AC8CA}"/>
                    </a:ext>
                  </a:extLst>
                </p:cNvPr>
                <p:cNvSpPr/>
                <p:nvPr/>
              </p:nvSpPr>
              <p:spPr>
                <a:xfrm>
                  <a:off x="9302376" y="3045443"/>
                  <a:ext cx="113174" cy="110982"/>
                </a:xfrm>
                <a:custGeom>
                  <a:avLst/>
                  <a:gdLst>
                    <a:gd name="connsiteX0" fmla="*/ 68625 w 113174"/>
                    <a:gd name="connsiteY0" fmla="*/ 1286 h 110982"/>
                    <a:gd name="connsiteX1" fmla="*/ 111870 w 113174"/>
                    <a:gd name="connsiteY1" fmla="*/ 68621 h 110982"/>
                    <a:gd name="connsiteX2" fmla="*/ 72325 w 113174"/>
                    <a:gd name="connsiteY2" fmla="*/ 110912 h 110982"/>
                    <a:gd name="connsiteX3" fmla="*/ 72055 w 113174"/>
                    <a:gd name="connsiteY3" fmla="*/ 110983 h 110982"/>
                    <a:gd name="connsiteX4" fmla="*/ 70760 w 113174"/>
                    <a:gd name="connsiteY4" fmla="*/ 101904 h 110982"/>
                    <a:gd name="connsiteX5" fmla="*/ 74147 w 113174"/>
                    <a:gd name="connsiteY5" fmla="*/ 100737 h 110982"/>
                    <a:gd name="connsiteX6" fmla="*/ 103033 w 113174"/>
                    <a:gd name="connsiteY6" fmla="*/ 66700 h 110982"/>
                    <a:gd name="connsiteX7" fmla="*/ 66704 w 113174"/>
                    <a:gd name="connsiteY7" fmla="*/ 10122 h 110982"/>
                    <a:gd name="connsiteX8" fmla="*/ 10127 w 113174"/>
                    <a:gd name="connsiteY8" fmla="*/ 46451 h 110982"/>
                    <a:gd name="connsiteX9" fmla="*/ 9629 w 113174"/>
                    <a:gd name="connsiteY9" fmla="*/ 64025 h 110982"/>
                    <a:gd name="connsiteX10" fmla="*/ 10468 w 113174"/>
                    <a:gd name="connsiteY10" fmla="*/ 67796 h 110982"/>
                    <a:gd name="connsiteX11" fmla="*/ 2144 w 113174"/>
                    <a:gd name="connsiteY11" fmla="*/ 71723 h 110982"/>
                    <a:gd name="connsiteX12" fmla="*/ 821 w 113174"/>
                    <a:gd name="connsiteY12" fmla="*/ 66173 h 110982"/>
                    <a:gd name="connsiteX13" fmla="*/ 1305 w 113174"/>
                    <a:gd name="connsiteY13" fmla="*/ 44544 h 110982"/>
                    <a:gd name="connsiteX14" fmla="*/ 68640 w 113174"/>
                    <a:gd name="connsiteY14" fmla="*/ 1300 h 110982"/>
                    <a:gd name="connsiteX15" fmla="*/ 68640 w 113174"/>
                    <a:gd name="connsiteY15" fmla="*/ 1300 h 11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174" h="110982">
                      <a:moveTo>
                        <a:pt x="68625" y="1286"/>
                      </a:moveTo>
                      <a:cubicBezTo>
                        <a:pt x="99120" y="7931"/>
                        <a:pt x="118515" y="38126"/>
                        <a:pt x="111870" y="68621"/>
                      </a:cubicBezTo>
                      <a:cubicBezTo>
                        <a:pt x="107302" y="89581"/>
                        <a:pt x="91607" y="105305"/>
                        <a:pt x="72325" y="110912"/>
                      </a:cubicBezTo>
                      <a:lnTo>
                        <a:pt x="72055" y="110983"/>
                      </a:lnTo>
                      <a:lnTo>
                        <a:pt x="70760" y="101904"/>
                      </a:lnTo>
                      <a:lnTo>
                        <a:pt x="74147" y="100737"/>
                      </a:lnTo>
                      <a:cubicBezTo>
                        <a:pt x="88319" y="95074"/>
                        <a:pt x="99547" y="82708"/>
                        <a:pt x="103033" y="66700"/>
                      </a:cubicBezTo>
                      <a:cubicBezTo>
                        <a:pt x="108611" y="41086"/>
                        <a:pt x="92318" y="15715"/>
                        <a:pt x="66704" y="10122"/>
                      </a:cubicBezTo>
                      <a:cubicBezTo>
                        <a:pt x="41091" y="4544"/>
                        <a:pt x="15719" y="20837"/>
                        <a:pt x="10127" y="46451"/>
                      </a:cubicBezTo>
                      <a:cubicBezTo>
                        <a:pt x="8832" y="52399"/>
                        <a:pt x="8718" y="58333"/>
                        <a:pt x="9629" y="64025"/>
                      </a:cubicBezTo>
                      <a:lnTo>
                        <a:pt x="10468" y="67796"/>
                      </a:lnTo>
                      <a:lnTo>
                        <a:pt x="2144" y="71723"/>
                      </a:lnTo>
                      <a:lnTo>
                        <a:pt x="821" y="66173"/>
                      </a:lnTo>
                      <a:cubicBezTo>
                        <a:pt x="-389" y="59201"/>
                        <a:pt x="-289" y="51887"/>
                        <a:pt x="1305" y="44544"/>
                      </a:cubicBezTo>
                      <a:cubicBezTo>
                        <a:pt x="7950" y="14064"/>
                        <a:pt x="38160" y="-5331"/>
                        <a:pt x="68640" y="1300"/>
                      </a:cubicBezTo>
                      <a:lnTo>
                        <a:pt x="68640" y="1300"/>
                      </a:lnTo>
                      <a:close/>
                    </a:path>
                  </a:pathLst>
                </a:custGeom>
                <a:solidFill>
                  <a:srgbClr val="FFFFFF">
                    <a:lumMod val="85000"/>
                  </a:srgbClr>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64" name="Freeform: Shape 263">
                  <a:extLst>
                    <a:ext uri="{FF2B5EF4-FFF2-40B4-BE49-F238E27FC236}">
                      <a16:creationId xmlns:a16="http://schemas.microsoft.com/office/drawing/2014/main" id="{136D7650-7F4F-E97A-DAEC-8973176426A2}"/>
                    </a:ext>
                  </a:extLst>
                </p:cNvPr>
                <p:cNvSpPr/>
                <p:nvPr/>
              </p:nvSpPr>
              <p:spPr>
                <a:xfrm>
                  <a:off x="9302362" y="3047412"/>
                  <a:ext cx="113174" cy="110982"/>
                </a:xfrm>
                <a:custGeom>
                  <a:avLst/>
                  <a:gdLst>
                    <a:gd name="connsiteX0" fmla="*/ 44549 w 113174"/>
                    <a:gd name="connsiteY0" fmla="*/ 109697 h 110982"/>
                    <a:gd name="connsiteX1" fmla="*/ 1305 w 113174"/>
                    <a:gd name="connsiteY1" fmla="*/ 42362 h 110982"/>
                    <a:gd name="connsiteX2" fmla="*/ 40849 w 113174"/>
                    <a:gd name="connsiteY2" fmla="*/ 71 h 110982"/>
                    <a:gd name="connsiteX3" fmla="*/ 41120 w 113174"/>
                    <a:gd name="connsiteY3" fmla="*/ 0 h 110982"/>
                    <a:gd name="connsiteX4" fmla="*/ 42414 w 113174"/>
                    <a:gd name="connsiteY4" fmla="*/ 9079 h 110982"/>
                    <a:gd name="connsiteX5" fmla="*/ 39028 w 113174"/>
                    <a:gd name="connsiteY5" fmla="*/ 10245 h 110982"/>
                    <a:gd name="connsiteX6" fmla="*/ 10141 w 113174"/>
                    <a:gd name="connsiteY6" fmla="*/ 44283 h 110982"/>
                    <a:gd name="connsiteX7" fmla="*/ 46470 w 113174"/>
                    <a:gd name="connsiteY7" fmla="*/ 100861 h 110982"/>
                    <a:gd name="connsiteX8" fmla="*/ 103047 w 113174"/>
                    <a:gd name="connsiteY8" fmla="*/ 64532 h 110982"/>
                    <a:gd name="connsiteX9" fmla="*/ 103545 w 113174"/>
                    <a:gd name="connsiteY9" fmla="*/ 46958 h 110982"/>
                    <a:gd name="connsiteX10" fmla="*/ 102706 w 113174"/>
                    <a:gd name="connsiteY10" fmla="*/ 43187 h 110982"/>
                    <a:gd name="connsiteX11" fmla="*/ 111030 w 113174"/>
                    <a:gd name="connsiteY11" fmla="*/ 39260 h 110982"/>
                    <a:gd name="connsiteX12" fmla="*/ 112354 w 113174"/>
                    <a:gd name="connsiteY12" fmla="*/ 44810 h 110982"/>
                    <a:gd name="connsiteX13" fmla="*/ 111870 w 113174"/>
                    <a:gd name="connsiteY13" fmla="*/ 66439 h 110982"/>
                    <a:gd name="connsiteX14" fmla="*/ 44535 w 113174"/>
                    <a:gd name="connsiteY14" fmla="*/ 109683 h 110982"/>
                    <a:gd name="connsiteX15" fmla="*/ 44535 w 113174"/>
                    <a:gd name="connsiteY15" fmla="*/ 109683 h 11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174" h="110982">
                      <a:moveTo>
                        <a:pt x="44549" y="109697"/>
                      </a:moveTo>
                      <a:cubicBezTo>
                        <a:pt x="14055" y="103052"/>
                        <a:pt x="-5341" y="72856"/>
                        <a:pt x="1305" y="42362"/>
                      </a:cubicBezTo>
                      <a:cubicBezTo>
                        <a:pt x="5872" y="21402"/>
                        <a:pt x="21568" y="5678"/>
                        <a:pt x="40849" y="71"/>
                      </a:cubicBezTo>
                      <a:lnTo>
                        <a:pt x="41120" y="0"/>
                      </a:lnTo>
                      <a:lnTo>
                        <a:pt x="42414" y="9079"/>
                      </a:lnTo>
                      <a:lnTo>
                        <a:pt x="39028" y="10245"/>
                      </a:lnTo>
                      <a:cubicBezTo>
                        <a:pt x="24855" y="15909"/>
                        <a:pt x="13628" y="28275"/>
                        <a:pt x="10141" y="44283"/>
                      </a:cubicBezTo>
                      <a:cubicBezTo>
                        <a:pt x="4563" y="69897"/>
                        <a:pt x="20856" y="95268"/>
                        <a:pt x="46470" y="100861"/>
                      </a:cubicBezTo>
                      <a:cubicBezTo>
                        <a:pt x="72083" y="106439"/>
                        <a:pt x="97455" y="90146"/>
                        <a:pt x="103047" y="64532"/>
                      </a:cubicBezTo>
                      <a:cubicBezTo>
                        <a:pt x="104342" y="58584"/>
                        <a:pt x="104456" y="52650"/>
                        <a:pt x="103545" y="46958"/>
                      </a:cubicBezTo>
                      <a:lnTo>
                        <a:pt x="102706" y="43187"/>
                      </a:lnTo>
                      <a:lnTo>
                        <a:pt x="111030" y="39260"/>
                      </a:lnTo>
                      <a:lnTo>
                        <a:pt x="112354" y="44810"/>
                      </a:lnTo>
                      <a:cubicBezTo>
                        <a:pt x="113563" y="51782"/>
                        <a:pt x="113464" y="59096"/>
                        <a:pt x="111870" y="66439"/>
                      </a:cubicBezTo>
                      <a:cubicBezTo>
                        <a:pt x="105225" y="96919"/>
                        <a:pt x="75015" y="116314"/>
                        <a:pt x="44535" y="109683"/>
                      </a:cubicBezTo>
                      <a:lnTo>
                        <a:pt x="44535" y="109683"/>
                      </a:lnTo>
                      <a:close/>
                    </a:path>
                  </a:pathLst>
                </a:custGeom>
                <a:solidFill>
                  <a:srgbClr val="FFFFFF">
                    <a:lumMod val="85000"/>
                  </a:srgbClr>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65" name="Freeform: Shape 264">
                  <a:extLst>
                    <a:ext uri="{FF2B5EF4-FFF2-40B4-BE49-F238E27FC236}">
                      <a16:creationId xmlns:a16="http://schemas.microsoft.com/office/drawing/2014/main" id="{0176B9E1-44F5-B9F6-10AB-C8DF7DA6674E}"/>
                    </a:ext>
                  </a:extLst>
                </p:cNvPr>
                <p:cNvSpPr/>
                <p:nvPr/>
              </p:nvSpPr>
              <p:spPr>
                <a:xfrm>
                  <a:off x="9326538" y="3069587"/>
                  <a:ext cx="64849" cy="64848"/>
                </a:xfrm>
                <a:custGeom>
                  <a:avLst/>
                  <a:gdLst>
                    <a:gd name="connsiteX0" fmla="*/ 25524 w 64849"/>
                    <a:gd name="connsiteY0" fmla="*/ 64100 h 64848"/>
                    <a:gd name="connsiteX1" fmla="*/ 750 w 64849"/>
                    <a:gd name="connsiteY1" fmla="*/ 25523 h 64848"/>
                    <a:gd name="connsiteX2" fmla="*/ 39326 w 64849"/>
                    <a:gd name="connsiteY2" fmla="*/ 749 h 64848"/>
                    <a:gd name="connsiteX3" fmla="*/ 64100 w 64849"/>
                    <a:gd name="connsiteY3" fmla="*/ 39326 h 64848"/>
                    <a:gd name="connsiteX4" fmla="*/ 25524 w 64849"/>
                    <a:gd name="connsiteY4" fmla="*/ 64100 h 64848"/>
                    <a:gd name="connsiteX5" fmla="*/ 25524 w 64849"/>
                    <a:gd name="connsiteY5" fmla="*/ 64100 h 64848"/>
                    <a:gd name="connsiteX6" fmla="*/ 38330 w 64849"/>
                    <a:gd name="connsiteY6" fmla="*/ 5345 h 64848"/>
                    <a:gd name="connsiteX7" fmla="*/ 5360 w 64849"/>
                    <a:gd name="connsiteY7" fmla="*/ 26519 h 64848"/>
                    <a:gd name="connsiteX8" fmla="*/ 26534 w 64849"/>
                    <a:gd name="connsiteY8" fmla="*/ 59489 h 64848"/>
                    <a:gd name="connsiteX9" fmla="*/ 59504 w 64849"/>
                    <a:gd name="connsiteY9" fmla="*/ 38316 h 64848"/>
                    <a:gd name="connsiteX10" fmla="*/ 38330 w 64849"/>
                    <a:gd name="connsiteY10" fmla="*/ 5345 h 64848"/>
                    <a:gd name="connsiteX11" fmla="*/ 38330 w 64849"/>
                    <a:gd name="connsiteY11" fmla="*/ 5345 h 6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849" h="64848">
                      <a:moveTo>
                        <a:pt x="25524" y="64100"/>
                      </a:moveTo>
                      <a:cubicBezTo>
                        <a:pt x="8050" y="60301"/>
                        <a:pt x="-3064" y="42983"/>
                        <a:pt x="750" y="25523"/>
                      </a:cubicBezTo>
                      <a:cubicBezTo>
                        <a:pt x="4563" y="8063"/>
                        <a:pt x="21867" y="-3065"/>
                        <a:pt x="39326" y="749"/>
                      </a:cubicBezTo>
                      <a:cubicBezTo>
                        <a:pt x="56786" y="4548"/>
                        <a:pt x="67914" y="21866"/>
                        <a:pt x="64100" y="39326"/>
                      </a:cubicBezTo>
                      <a:cubicBezTo>
                        <a:pt x="60301" y="56786"/>
                        <a:pt x="42984" y="67913"/>
                        <a:pt x="25524" y="64100"/>
                      </a:cubicBezTo>
                      <a:lnTo>
                        <a:pt x="25524" y="64100"/>
                      </a:lnTo>
                      <a:close/>
                      <a:moveTo>
                        <a:pt x="38330" y="5345"/>
                      </a:moveTo>
                      <a:cubicBezTo>
                        <a:pt x="23403" y="2087"/>
                        <a:pt x="8619" y="11592"/>
                        <a:pt x="5360" y="26519"/>
                      </a:cubicBezTo>
                      <a:cubicBezTo>
                        <a:pt x="2101" y="41446"/>
                        <a:pt x="11607" y="56231"/>
                        <a:pt x="26534" y="59489"/>
                      </a:cubicBezTo>
                      <a:cubicBezTo>
                        <a:pt x="41461" y="62748"/>
                        <a:pt x="56246" y="53243"/>
                        <a:pt x="59504" y="38316"/>
                      </a:cubicBezTo>
                      <a:cubicBezTo>
                        <a:pt x="62749" y="23389"/>
                        <a:pt x="53257" y="8604"/>
                        <a:pt x="38330" y="5345"/>
                      </a:cubicBezTo>
                      <a:lnTo>
                        <a:pt x="38330" y="5345"/>
                      </a:lnTo>
                      <a:close/>
                    </a:path>
                  </a:pathLst>
                </a:custGeom>
                <a:solidFill>
                  <a:srgbClr val="41728A"/>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66" name="Freeform: Shape 265">
                  <a:extLst>
                    <a:ext uri="{FF2B5EF4-FFF2-40B4-BE49-F238E27FC236}">
                      <a16:creationId xmlns:a16="http://schemas.microsoft.com/office/drawing/2014/main" id="{352C1B89-4221-013A-D1FC-A5C9F87C2E69}"/>
                    </a:ext>
                  </a:extLst>
                </p:cNvPr>
                <p:cNvSpPr/>
                <p:nvPr/>
              </p:nvSpPr>
              <p:spPr>
                <a:xfrm>
                  <a:off x="9366149" y="3030308"/>
                  <a:ext cx="12636" cy="19366"/>
                </a:xfrm>
                <a:custGeom>
                  <a:avLst/>
                  <a:gdLst>
                    <a:gd name="connsiteX0" fmla="*/ 3799 w 12636"/>
                    <a:gd name="connsiteY0" fmla="*/ 0 h 19366"/>
                    <a:gd name="connsiteX1" fmla="*/ 12636 w 12636"/>
                    <a:gd name="connsiteY1" fmla="*/ 1921 h 19366"/>
                    <a:gd name="connsiteX2" fmla="*/ 8837 w 12636"/>
                    <a:gd name="connsiteY2" fmla="*/ 19367 h 19366"/>
                    <a:gd name="connsiteX3" fmla="*/ 0 w 12636"/>
                    <a:gd name="connsiteY3" fmla="*/ 17446 h 19366"/>
                    <a:gd name="connsiteX4" fmla="*/ 3799 w 12636"/>
                    <a:gd name="connsiteY4" fmla="*/ 0 h 19366"/>
                    <a:gd name="connsiteX5" fmla="*/ 3799 w 12636"/>
                    <a:gd name="connsiteY5" fmla="*/ 0 h 1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36" h="19366">
                      <a:moveTo>
                        <a:pt x="3799" y="0"/>
                      </a:moveTo>
                      <a:lnTo>
                        <a:pt x="12636" y="1921"/>
                      </a:lnTo>
                      <a:lnTo>
                        <a:pt x="8837" y="19367"/>
                      </a:lnTo>
                      <a:lnTo>
                        <a:pt x="0" y="17446"/>
                      </a:lnTo>
                      <a:lnTo>
                        <a:pt x="3799" y="0"/>
                      </a:lnTo>
                      <a:lnTo>
                        <a:pt x="3799" y="0"/>
                      </a:lnTo>
                      <a:close/>
                    </a:path>
                  </a:pathLst>
                </a:custGeom>
                <a:solidFill>
                  <a:srgbClr val="FFFFFF">
                    <a:lumMod val="85000"/>
                  </a:srgbClr>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67" name="Freeform: Shape 266">
                  <a:extLst>
                    <a:ext uri="{FF2B5EF4-FFF2-40B4-BE49-F238E27FC236}">
                      <a16:creationId xmlns:a16="http://schemas.microsoft.com/office/drawing/2014/main" id="{ED5AF127-1BCB-C2B6-2008-3BD80FAE4668}"/>
                    </a:ext>
                  </a:extLst>
                </p:cNvPr>
                <p:cNvSpPr/>
                <p:nvPr/>
              </p:nvSpPr>
              <p:spPr>
                <a:xfrm>
                  <a:off x="9339127" y="3154349"/>
                  <a:ext cx="12636" cy="19380"/>
                </a:xfrm>
                <a:custGeom>
                  <a:avLst/>
                  <a:gdLst>
                    <a:gd name="connsiteX0" fmla="*/ 3799 w 12636"/>
                    <a:gd name="connsiteY0" fmla="*/ 0 h 19380"/>
                    <a:gd name="connsiteX1" fmla="*/ 12636 w 12636"/>
                    <a:gd name="connsiteY1" fmla="*/ 1921 h 19380"/>
                    <a:gd name="connsiteX2" fmla="*/ 8837 w 12636"/>
                    <a:gd name="connsiteY2" fmla="*/ 19381 h 19380"/>
                    <a:gd name="connsiteX3" fmla="*/ 0 w 12636"/>
                    <a:gd name="connsiteY3" fmla="*/ 17446 h 19380"/>
                    <a:gd name="connsiteX4" fmla="*/ 3799 w 12636"/>
                    <a:gd name="connsiteY4" fmla="*/ 0 h 19380"/>
                    <a:gd name="connsiteX5" fmla="*/ 3799 w 12636"/>
                    <a:gd name="connsiteY5" fmla="*/ 0 h 1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36" h="19380">
                      <a:moveTo>
                        <a:pt x="3799" y="0"/>
                      </a:moveTo>
                      <a:lnTo>
                        <a:pt x="12636" y="1921"/>
                      </a:lnTo>
                      <a:lnTo>
                        <a:pt x="8837" y="19381"/>
                      </a:lnTo>
                      <a:lnTo>
                        <a:pt x="0" y="17446"/>
                      </a:lnTo>
                      <a:lnTo>
                        <a:pt x="3799" y="0"/>
                      </a:lnTo>
                      <a:lnTo>
                        <a:pt x="3799" y="0"/>
                      </a:lnTo>
                      <a:close/>
                    </a:path>
                  </a:pathLst>
                </a:custGeom>
                <a:solidFill>
                  <a:srgbClr val="FFFFFF">
                    <a:lumMod val="85000"/>
                  </a:srgbClr>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68" name="Freeform: Shape 267">
                  <a:extLst>
                    <a:ext uri="{FF2B5EF4-FFF2-40B4-BE49-F238E27FC236}">
                      <a16:creationId xmlns:a16="http://schemas.microsoft.com/office/drawing/2014/main" id="{91125791-75C6-38EE-BC19-5C4E273D3575}"/>
                    </a:ext>
                  </a:extLst>
                </p:cNvPr>
                <p:cNvSpPr/>
                <p:nvPr/>
              </p:nvSpPr>
              <p:spPr>
                <a:xfrm>
                  <a:off x="9411286" y="3109212"/>
                  <a:ext cx="19380" cy="12636"/>
                </a:xfrm>
                <a:custGeom>
                  <a:avLst/>
                  <a:gdLst>
                    <a:gd name="connsiteX0" fmla="*/ 1935 w 19380"/>
                    <a:gd name="connsiteY0" fmla="*/ 0 h 12636"/>
                    <a:gd name="connsiteX1" fmla="*/ 19381 w 19380"/>
                    <a:gd name="connsiteY1" fmla="*/ 3799 h 12636"/>
                    <a:gd name="connsiteX2" fmla="*/ 17460 w 19380"/>
                    <a:gd name="connsiteY2" fmla="*/ 12636 h 12636"/>
                    <a:gd name="connsiteX3" fmla="*/ 0 w 19380"/>
                    <a:gd name="connsiteY3" fmla="*/ 8822 h 12636"/>
                    <a:gd name="connsiteX4" fmla="*/ 1935 w 19380"/>
                    <a:gd name="connsiteY4" fmla="*/ 0 h 12636"/>
                    <a:gd name="connsiteX5" fmla="*/ 1935 w 19380"/>
                    <a:gd name="connsiteY5" fmla="*/ 0 h 12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80" h="12636">
                      <a:moveTo>
                        <a:pt x="1935" y="0"/>
                      </a:moveTo>
                      <a:lnTo>
                        <a:pt x="19381" y="3799"/>
                      </a:lnTo>
                      <a:lnTo>
                        <a:pt x="17460" y="12636"/>
                      </a:lnTo>
                      <a:lnTo>
                        <a:pt x="0" y="8822"/>
                      </a:lnTo>
                      <a:lnTo>
                        <a:pt x="1935" y="0"/>
                      </a:lnTo>
                      <a:lnTo>
                        <a:pt x="1935" y="0"/>
                      </a:lnTo>
                      <a:close/>
                    </a:path>
                  </a:pathLst>
                </a:custGeom>
                <a:solidFill>
                  <a:srgbClr val="FFFFFF">
                    <a:lumMod val="85000"/>
                  </a:srgbClr>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69" name="Freeform: Shape 268">
                  <a:extLst>
                    <a:ext uri="{FF2B5EF4-FFF2-40B4-BE49-F238E27FC236}">
                      <a16:creationId xmlns:a16="http://schemas.microsoft.com/office/drawing/2014/main" id="{D9FF4167-ABEB-A6F4-D9BF-7B6C6F1FC989}"/>
                    </a:ext>
                  </a:extLst>
                </p:cNvPr>
                <p:cNvSpPr/>
                <p:nvPr/>
              </p:nvSpPr>
              <p:spPr>
                <a:xfrm>
                  <a:off x="9287246" y="3082175"/>
                  <a:ext cx="19380" cy="12636"/>
                </a:xfrm>
                <a:custGeom>
                  <a:avLst/>
                  <a:gdLst>
                    <a:gd name="connsiteX0" fmla="*/ 1921 w 19380"/>
                    <a:gd name="connsiteY0" fmla="*/ 0 h 12636"/>
                    <a:gd name="connsiteX1" fmla="*/ 19381 w 19380"/>
                    <a:gd name="connsiteY1" fmla="*/ 3799 h 12636"/>
                    <a:gd name="connsiteX2" fmla="*/ 17460 w 19380"/>
                    <a:gd name="connsiteY2" fmla="*/ 12636 h 12636"/>
                    <a:gd name="connsiteX3" fmla="*/ 0 w 19380"/>
                    <a:gd name="connsiteY3" fmla="*/ 8837 h 12636"/>
                    <a:gd name="connsiteX4" fmla="*/ 1921 w 19380"/>
                    <a:gd name="connsiteY4" fmla="*/ 0 h 12636"/>
                    <a:gd name="connsiteX5" fmla="*/ 1921 w 19380"/>
                    <a:gd name="connsiteY5" fmla="*/ 0 h 12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80" h="12636">
                      <a:moveTo>
                        <a:pt x="1921" y="0"/>
                      </a:moveTo>
                      <a:lnTo>
                        <a:pt x="19381" y="3799"/>
                      </a:lnTo>
                      <a:lnTo>
                        <a:pt x="17460" y="12636"/>
                      </a:lnTo>
                      <a:lnTo>
                        <a:pt x="0" y="8837"/>
                      </a:lnTo>
                      <a:lnTo>
                        <a:pt x="1921" y="0"/>
                      </a:lnTo>
                      <a:lnTo>
                        <a:pt x="1921" y="0"/>
                      </a:lnTo>
                      <a:close/>
                    </a:path>
                  </a:pathLst>
                </a:custGeom>
                <a:solidFill>
                  <a:srgbClr val="FFFFFF">
                    <a:lumMod val="85000"/>
                  </a:srgbClr>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70" name="Freeform: Shape 269">
                  <a:extLst>
                    <a:ext uri="{FF2B5EF4-FFF2-40B4-BE49-F238E27FC236}">
                      <a16:creationId xmlns:a16="http://schemas.microsoft.com/office/drawing/2014/main" id="{7CCD7EFD-34B6-CB08-D187-902243D0F15C}"/>
                    </a:ext>
                  </a:extLst>
                </p:cNvPr>
                <p:cNvSpPr/>
                <p:nvPr/>
              </p:nvSpPr>
              <p:spPr>
                <a:xfrm>
                  <a:off x="9401838" y="3058099"/>
                  <a:ext cx="19878" cy="17431"/>
                </a:xfrm>
                <a:custGeom>
                  <a:avLst/>
                  <a:gdLst>
                    <a:gd name="connsiteX0" fmla="*/ 0 w 19878"/>
                    <a:gd name="connsiteY0" fmla="*/ 9904 h 17431"/>
                    <a:gd name="connsiteX1" fmla="*/ 14870 w 19878"/>
                    <a:gd name="connsiteY1" fmla="*/ 0 h 17431"/>
                    <a:gd name="connsiteX2" fmla="*/ 19879 w 19878"/>
                    <a:gd name="connsiteY2" fmla="*/ 7528 h 17431"/>
                    <a:gd name="connsiteX3" fmla="*/ 5023 w 19878"/>
                    <a:gd name="connsiteY3" fmla="*/ 17431 h 17431"/>
                    <a:gd name="connsiteX4" fmla="*/ 0 w 19878"/>
                    <a:gd name="connsiteY4" fmla="*/ 9904 h 17431"/>
                    <a:gd name="connsiteX5" fmla="*/ 0 w 19878"/>
                    <a:gd name="connsiteY5" fmla="*/ 9904 h 1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78" h="17431">
                      <a:moveTo>
                        <a:pt x="0" y="9904"/>
                      </a:moveTo>
                      <a:lnTo>
                        <a:pt x="14870" y="0"/>
                      </a:lnTo>
                      <a:lnTo>
                        <a:pt x="19879" y="7528"/>
                      </a:lnTo>
                      <a:lnTo>
                        <a:pt x="5023" y="17431"/>
                      </a:lnTo>
                      <a:lnTo>
                        <a:pt x="0" y="9904"/>
                      </a:lnTo>
                      <a:lnTo>
                        <a:pt x="0" y="9904"/>
                      </a:lnTo>
                      <a:close/>
                    </a:path>
                  </a:pathLst>
                </a:custGeom>
                <a:solidFill>
                  <a:srgbClr val="FFFFFF">
                    <a:lumMod val="85000"/>
                  </a:srgbClr>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71" name="Freeform: Shape 270">
                  <a:extLst>
                    <a:ext uri="{FF2B5EF4-FFF2-40B4-BE49-F238E27FC236}">
                      <a16:creationId xmlns:a16="http://schemas.microsoft.com/office/drawing/2014/main" id="{EA25D721-ABB9-2673-FD8A-DD1BECD3592F}"/>
                    </a:ext>
                  </a:extLst>
                </p:cNvPr>
                <p:cNvSpPr/>
                <p:nvPr/>
              </p:nvSpPr>
              <p:spPr>
                <a:xfrm>
                  <a:off x="9296182" y="3128508"/>
                  <a:ext cx="19878" cy="17431"/>
                </a:xfrm>
                <a:custGeom>
                  <a:avLst/>
                  <a:gdLst>
                    <a:gd name="connsiteX0" fmla="*/ 0 w 19878"/>
                    <a:gd name="connsiteY0" fmla="*/ 9904 h 17431"/>
                    <a:gd name="connsiteX1" fmla="*/ 14870 w 19878"/>
                    <a:gd name="connsiteY1" fmla="*/ 0 h 17431"/>
                    <a:gd name="connsiteX2" fmla="*/ 19879 w 19878"/>
                    <a:gd name="connsiteY2" fmla="*/ 7528 h 17431"/>
                    <a:gd name="connsiteX3" fmla="*/ 5023 w 19878"/>
                    <a:gd name="connsiteY3" fmla="*/ 17431 h 17431"/>
                    <a:gd name="connsiteX4" fmla="*/ 0 w 19878"/>
                    <a:gd name="connsiteY4" fmla="*/ 9904 h 17431"/>
                    <a:gd name="connsiteX5" fmla="*/ 0 w 19878"/>
                    <a:gd name="connsiteY5" fmla="*/ 9904 h 1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78" h="17431">
                      <a:moveTo>
                        <a:pt x="0" y="9904"/>
                      </a:moveTo>
                      <a:lnTo>
                        <a:pt x="14870" y="0"/>
                      </a:lnTo>
                      <a:lnTo>
                        <a:pt x="19879" y="7528"/>
                      </a:lnTo>
                      <a:lnTo>
                        <a:pt x="5023" y="17431"/>
                      </a:lnTo>
                      <a:lnTo>
                        <a:pt x="0" y="9904"/>
                      </a:lnTo>
                      <a:lnTo>
                        <a:pt x="0" y="9904"/>
                      </a:lnTo>
                      <a:close/>
                    </a:path>
                  </a:pathLst>
                </a:custGeom>
                <a:solidFill>
                  <a:srgbClr val="FFFFFF">
                    <a:lumMod val="85000"/>
                  </a:srgbClr>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72" name="Freeform: Shape 271">
                  <a:extLst>
                    <a:ext uri="{FF2B5EF4-FFF2-40B4-BE49-F238E27FC236}">
                      <a16:creationId xmlns:a16="http://schemas.microsoft.com/office/drawing/2014/main" id="{21009AC5-829A-8ECD-5016-05FF5F9C902D}"/>
                    </a:ext>
                  </a:extLst>
                </p:cNvPr>
                <p:cNvSpPr/>
                <p:nvPr/>
              </p:nvSpPr>
              <p:spPr>
                <a:xfrm>
                  <a:off x="9385445" y="3144900"/>
                  <a:ext cx="17431" cy="19878"/>
                </a:xfrm>
                <a:custGeom>
                  <a:avLst/>
                  <a:gdLst>
                    <a:gd name="connsiteX0" fmla="*/ 0 w 17431"/>
                    <a:gd name="connsiteY0" fmla="*/ 5023 h 19878"/>
                    <a:gd name="connsiteX1" fmla="*/ 7528 w 17431"/>
                    <a:gd name="connsiteY1" fmla="*/ 0 h 19878"/>
                    <a:gd name="connsiteX2" fmla="*/ 17431 w 17431"/>
                    <a:gd name="connsiteY2" fmla="*/ 14870 h 19878"/>
                    <a:gd name="connsiteX3" fmla="*/ 9904 w 17431"/>
                    <a:gd name="connsiteY3" fmla="*/ 19879 h 19878"/>
                    <a:gd name="connsiteX4" fmla="*/ 0 w 17431"/>
                    <a:gd name="connsiteY4" fmla="*/ 5023 h 19878"/>
                    <a:gd name="connsiteX5" fmla="*/ 0 w 17431"/>
                    <a:gd name="connsiteY5" fmla="*/ 5023 h 1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1" h="19878">
                      <a:moveTo>
                        <a:pt x="0" y="5023"/>
                      </a:moveTo>
                      <a:lnTo>
                        <a:pt x="7528" y="0"/>
                      </a:lnTo>
                      <a:lnTo>
                        <a:pt x="17431" y="14870"/>
                      </a:lnTo>
                      <a:lnTo>
                        <a:pt x="9904" y="19879"/>
                      </a:lnTo>
                      <a:lnTo>
                        <a:pt x="0" y="5023"/>
                      </a:lnTo>
                      <a:lnTo>
                        <a:pt x="0" y="5023"/>
                      </a:lnTo>
                      <a:close/>
                    </a:path>
                  </a:pathLst>
                </a:custGeom>
                <a:solidFill>
                  <a:srgbClr val="FFFFFF">
                    <a:lumMod val="85000"/>
                  </a:srgbClr>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73" name="Freeform: Shape 272">
                  <a:extLst>
                    <a:ext uri="{FF2B5EF4-FFF2-40B4-BE49-F238E27FC236}">
                      <a16:creationId xmlns:a16="http://schemas.microsoft.com/office/drawing/2014/main" id="{D985391F-5546-3EEE-386F-BB1BF49DFE50}"/>
                    </a:ext>
                  </a:extLst>
                </p:cNvPr>
                <p:cNvSpPr/>
                <p:nvPr/>
              </p:nvSpPr>
              <p:spPr>
                <a:xfrm>
                  <a:off x="9315036" y="3039258"/>
                  <a:ext cx="17431" cy="19878"/>
                </a:xfrm>
                <a:custGeom>
                  <a:avLst/>
                  <a:gdLst>
                    <a:gd name="connsiteX0" fmla="*/ 0 w 17431"/>
                    <a:gd name="connsiteY0" fmla="*/ 5009 h 19878"/>
                    <a:gd name="connsiteX1" fmla="*/ 7528 w 17431"/>
                    <a:gd name="connsiteY1" fmla="*/ 0 h 19878"/>
                    <a:gd name="connsiteX2" fmla="*/ 17431 w 17431"/>
                    <a:gd name="connsiteY2" fmla="*/ 14870 h 19878"/>
                    <a:gd name="connsiteX3" fmla="*/ 9904 w 17431"/>
                    <a:gd name="connsiteY3" fmla="*/ 19879 h 19878"/>
                    <a:gd name="connsiteX4" fmla="*/ 0 w 17431"/>
                    <a:gd name="connsiteY4" fmla="*/ 5009 h 19878"/>
                    <a:gd name="connsiteX5" fmla="*/ 0 w 17431"/>
                    <a:gd name="connsiteY5" fmla="*/ 5009 h 1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1" h="19878">
                      <a:moveTo>
                        <a:pt x="0" y="5009"/>
                      </a:moveTo>
                      <a:lnTo>
                        <a:pt x="7528" y="0"/>
                      </a:lnTo>
                      <a:lnTo>
                        <a:pt x="17431" y="14870"/>
                      </a:lnTo>
                      <a:lnTo>
                        <a:pt x="9904" y="19879"/>
                      </a:lnTo>
                      <a:lnTo>
                        <a:pt x="0" y="5009"/>
                      </a:lnTo>
                      <a:lnTo>
                        <a:pt x="0" y="5009"/>
                      </a:lnTo>
                      <a:close/>
                    </a:path>
                  </a:pathLst>
                </a:custGeom>
                <a:solidFill>
                  <a:srgbClr val="FFFFFF">
                    <a:lumMod val="85000"/>
                  </a:srgbClr>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74" name="Freeform: Shape 273">
                  <a:extLst>
                    <a:ext uri="{FF2B5EF4-FFF2-40B4-BE49-F238E27FC236}">
                      <a16:creationId xmlns:a16="http://schemas.microsoft.com/office/drawing/2014/main" id="{1C9E1BD6-B2EE-CF77-B9F3-4AF3E7CF6B96}"/>
                    </a:ext>
                  </a:extLst>
                </p:cNvPr>
                <p:cNvSpPr/>
                <p:nvPr/>
              </p:nvSpPr>
              <p:spPr>
                <a:xfrm>
                  <a:off x="9423952" y="2998321"/>
                  <a:ext cx="76795" cy="76795"/>
                </a:xfrm>
                <a:custGeom>
                  <a:avLst/>
                  <a:gdLst>
                    <a:gd name="connsiteX0" fmla="*/ 30151 w 76795"/>
                    <a:gd name="connsiteY0" fmla="*/ 75914 h 76795"/>
                    <a:gd name="connsiteX1" fmla="*/ 12521 w 76795"/>
                    <a:gd name="connsiteY1" fmla="*/ 66765 h 76795"/>
                    <a:gd name="connsiteX2" fmla="*/ 41 w 76795"/>
                    <a:gd name="connsiteY2" fmla="*/ 40155 h 76795"/>
                    <a:gd name="connsiteX3" fmla="*/ 10031 w 76795"/>
                    <a:gd name="connsiteY3" fmla="*/ 12521 h 76795"/>
                    <a:gd name="connsiteX4" fmla="*/ 36640 w 76795"/>
                    <a:gd name="connsiteY4" fmla="*/ 41 h 76795"/>
                    <a:gd name="connsiteX5" fmla="*/ 64274 w 76795"/>
                    <a:gd name="connsiteY5" fmla="*/ 10031 h 76795"/>
                    <a:gd name="connsiteX6" fmla="*/ 76754 w 76795"/>
                    <a:gd name="connsiteY6" fmla="*/ 36640 h 76795"/>
                    <a:gd name="connsiteX7" fmla="*/ 66765 w 76795"/>
                    <a:gd name="connsiteY7" fmla="*/ 64275 h 76795"/>
                    <a:gd name="connsiteX8" fmla="*/ 40155 w 76795"/>
                    <a:gd name="connsiteY8" fmla="*/ 76754 h 76795"/>
                    <a:gd name="connsiteX9" fmla="*/ 30151 w 76795"/>
                    <a:gd name="connsiteY9" fmla="*/ 75914 h 76795"/>
                    <a:gd name="connsiteX10" fmla="*/ 30151 w 76795"/>
                    <a:gd name="connsiteY10" fmla="*/ 75914 h 76795"/>
                    <a:gd name="connsiteX11" fmla="*/ 44680 w 76795"/>
                    <a:gd name="connsiteY11" fmla="*/ 9718 h 76795"/>
                    <a:gd name="connsiteX12" fmla="*/ 37039 w 76795"/>
                    <a:gd name="connsiteY12" fmla="*/ 9077 h 76795"/>
                    <a:gd name="connsiteX13" fmla="*/ 9063 w 76795"/>
                    <a:gd name="connsiteY13" fmla="*/ 39742 h 76795"/>
                    <a:gd name="connsiteX14" fmla="*/ 18597 w 76795"/>
                    <a:gd name="connsiteY14" fmla="*/ 60077 h 76795"/>
                    <a:gd name="connsiteX15" fmla="*/ 39728 w 76795"/>
                    <a:gd name="connsiteY15" fmla="*/ 67718 h 76795"/>
                    <a:gd name="connsiteX16" fmla="*/ 60062 w 76795"/>
                    <a:gd name="connsiteY16" fmla="*/ 58184 h 76795"/>
                    <a:gd name="connsiteX17" fmla="*/ 67704 w 76795"/>
                    <a:gd name="connsiteY17" fmla="*/ 37053 h 76795"/>
                    <a:gd name="connsiteX18" fmla="*/ 67704 w 76795"/>
                    <a:gd name="connsiteY18" fmla="*/ 37053 h 76795"/>
                    <a:gd name="connsiteX19" fmla="*/ 58170 w 76795"/>
                    <a:gd name="connsiteY19" fmla="*/ 16719 h 76795"/>
                    <a:gd name="connsiteX20" fmla="*/ 44680 w 76795"/>
                    <a:gd name="connsiteY20" fmla="*/ 9718 h 76795"/>
                    <a:gd name="connsiteX21" fmla="*/ 44680 w 76795"/>
                    <a:gd name="connsiteY21" fmla="*/ 9718 h 7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6795" h="76795">
                      <a:moveTo>
                        <a:pt x="30151" y="75914"/>
                      </a:moveTo>
                      <a:cubicBezTo>
                        <a:pt x="23634" y="74491"/>
                        <a:pt x="17572" y="71375"/>
                        <a:pt x="12521" y="66765"/>
                      </a:cubicBezTo>
                      <a:cubicBezTo>
                        <a:pt x="4951" y="59849"/>
                        <a:pt x="511" y="50400"/>
                        <a:pt x="41" y="40155"/>
                      </a:cubicBezTo>
                      <a:cubicBezTo>
                        <a:pt x="-428" y="29910"/>
                        <a:pt x="3115" y="20091"/>
                        <a:pt x="10031" y="12521"/>
                      </a:cubicBezTo>
                      <a:cubicBezTo>
                        <a:pt x="16946" y="4951"/>
                        <a:pt x="26395" y="511"/>
                        <a:pt x="36640" y="41"/>
                      </a:cubicBezTo>
                      <a:cubicBezTo>
                        <a:pt x="46886" y="-428"/>
                        <a:pt x="56704" y="3115"/>
                        <a:pt x="64274" y="10031"/>
                      </a:cubicBezTo>
                      <a:cubicBezTo>
                        <a:pt x="71845" y="16946"/>
                        <a:pt x="76284" y="26395"/>
                        <a:pt x="76754" y="36640"/>
                      </a:cubicBezTo>
                      <a:cubicBezTo>
                        <a:pt x="77223" y="46886"/>
                        <a:pt x="73680" y="56704"/>
                        <a:pt x="66765" y="64275"/>
                      </a:cubicBezTo>
                      <a:cubicBezTo>
                        <a:pt x="59849" y="71845"/>
                        <a:pt x="50400" y="76284"/>
                        <a:pt x="40155" y="76754"/>
                      </a:cubicBezTo>
                      <a:cubicBezTo>
                        <a:pt x="36754" y="76911"/>
                        <a:pt x="33396" y="76626"/>
                        <a:pt x="30151" y="75914"/>
                      </a:cubicBezTo>
                      <a:lnTo>
                        <a:pt x="30151" y="75914"/>
                      </a:lnTo>
                      <a:close/>
                      <a:moveTo>
                        <a:pt x="44680" y="9718"/>
                      </a:moveTo>
                      <a:cubicBezTo>
                        <a:pt x="42204" y="9177"/>
                        <a:pt x="39643" y="8963"/>
                        <a:pt x="37039" y="9077"/>
                      </a:cubicBezTo>
                      <a:cubicBezTo>
                        <a:pt x="20874" y="9817"/>
                        <a:pt x="8323" y="23577"/>
                        <a:pt x="9063" y="39742"/>
                      </a:cubicBezTo>
                      <a:cubicBezTo>
                        <a:pt x="9419" y="47569"/>
                        <a:pt x="12805" y="54797"/>
                        <a:pt x="18597" y="60077"/>
                      </a:cubicBezTo>
                      <a:cubicBezTo>
                        <a:pt x="24388" y="65356"/>
                        <a:pt x="31888" y="68074"/>
                        <a:pt x="39728" y="67718"/>
                      </a:cubicBezTo>
                      <a:cubicBezTo>
                        <a:pt x="47554" y="67362"/>
                        <a:pt x="54783" y="63976"/>
                        <a:pt x="60062" y="58184"/>
                      </a:cubicBezTo>
                      <a:cubicBezTo>
                        <a:pt x="65342" y="52393"/>
                        <a:pt x="68060" y="44894"/>
                        <a:pt x="67704" y="37053"/>
                      </a:cubicBezTo>
                      <a:lnTo>
                        <a:pt x="67704" y="37053"/>
                      </a:lnTo>
                      <a:cubicBezTo>
                        <a:pt x="67348" y="29227"/>
                        <a:pt x="63961" y="21998"/>
                        <a:pt x="58170" y="16719"/>
                      </a:cubicBezTo>
                      <a:cubicBezTo>
                        <a:pt x="54299" y="13190"/>
                        <a:pt x="49675" y="10813"/>
                        <a:pt x="44680" y="9718"/>
                      </a:cubicBezTo>
                      <a:lnTo>
                        <a:pt x="44680" y="9718"/>
                      </a:lnTo>
                      <a:close/>
                    </a:path>
                  </a:pathLst>
                </a:custGeom>
                <a:solidFill>
                  <a:srgbClr val="41728A"/>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75" name="Freeform: Shape 274">
                  <a:extLst>
                    <a:ext uri="{FF2B5EF4-FFF2-40B4-BE49-F238E27FC236}">
                      <a16:creationId xmlns:a16="http://schemas.microsoft.com/office/drawing/2014/main" id="{80D52641-1846-16C9-EFC6-D6BEBD5DD8B8}"/>
                    </a:ext>
                  </a:extLst>
                </p:cNvPr>
                <p:cNvSpPr/>
                <p:nvPr/>
              </p:nvSpPr>
              <p:spPr>
                <a:xfrm>
                  <a:off x="9449451" y="3023820"/>
                  <a:ext cx="25797" cy="25799"/>
                </a:xfrm>
                <a:custGeom>
                  <a:avLst/>
                  <a:gdLst>
                    <a:gd name="connsiteX0" fmla="*/ 10145 w 25797"/>
                    <a:gd name="connsiteY0" fmla="*/ 25499 h 25799"/>
                    <a:gd name="connsiteX1" fmla="*/ 14 w 25797"/>
                    <a:gd name="connsiteY1" fmla="*/ 13489 h 25799"/>
                    <a:gd name="connsiteX2" fmla="*/ 12308 w 25797"/>
                    <a:gd name="connsiteY2" fmla="*/ 14 h 25799"/>
                    <a:gd name="connsiteX3" fmla="*/ 25784 w 25797"/>
                    <a:gd name="connsiteY3" fmla="*/ 12308 h 25799"/>
                    <a:gd name="connsiteX4" fmla="*/ 25784 w 25797"/>
                    <a:gd name="connsiteY4" fmla="*/ 12308 h 25799"/>
                    <a:gd name="connsiteX5" fmla="*/ 13489 w 25797"/>
                    <a:gd name="connsiteY5" fmla="*/ 25784 h 25799"/>
                    <a:gd name="connsiteX6" fmla="*/ 10160 w 25797"/>
                    <a:gd name="connsiteY6" fmla="*/ 25499 h 25799"/>
                    <a:gd name="connsiteX7" fmla="*/ 10160 w 25797"/>
                    <a:gd name="connsiteY7" fmla="*/ 25499 h 25799"/>
                    <a:gd name="connsiteX8" fmla="*/ 14628 w 25797"/>
                    <a:gd name="connsiteY8" fmla="*/ 4909 h 25799"/>
                    <a:gd name="connsiteX9" fmla="*/ 12508 w 25797"/>
                    <a:gd name="connsiteY9" fmla="*/ 4724 h 25799"/>
                    <a:gd name="connsiteX10" fmla="*/ 4710 w 25797"/>
                    <a:gd name="connsiteY10" fmla="*/ 13262 h 25799"/>
                    <a:gd name="connsiteX11" fmla="*/ 13247 w 25797"/>
                    <a:gd name="connsiteY11" fmla="*/ 21060 h 25799"/>
                    <a:gd name="connsiteX12" fmla="*/ 21045 w 25797"/>
                    <a:gd name="connsiteY12" fmla="*/ 12522 h 25799"/>
                    <a:gd name="connsiteX13" fmla="*/ 21045 w 25797"/>
                    <a:gd name="connsiteY13" fmla="*/ 12522 h 25799"/>
                    <a:gd name="connsiteX14" fmla="*/ 14614 w 25797"/>
                    <a:gd name="connsiteY14" fmla="*/ 4909 h 25799"/>
                    <a:gd name="connsiteX15" fmla="*/ 14614 w 25797"/>
                    <a:gd name="connsiteY15" fmla="*/ 4909 h 25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797" h="25799">
                      <a:moveTo>
                        <a:pt x="10145" y="25499"/>
                      </a:moveTo>
                      <a:cubicBezTo>
                        <a:pt x="4582" y="24290"/>
                        <a:pt x="284" y="19452"/>
                        <a:pt x="14" y="13489"/>
                      </a:cubicBezTo>
                      <a:cubicBezTo>
                        <a:pt x="-313" y="6389"/>
                        <a:pt x="5208" y="341"/>
                        <a:pt x="12308" y="14"/>
                      </a:cubicBezTo>
                      <a:cubicBezTo>
                        <a:pt x="19409" y="-313"/>
                        <a:pt x="25457" y="5208"/>
                        <a:pt x="25784" y="12308"/>
                      </a:cubicBezTo>
                      <a:lnTo>
                        <a:pt x="25784" y="12308"/>
                      </a:lnTo>
                      <a:cubicBezTo>
                        <a:pt x="26111" y="19409"/>
                        <a:pt x="20590" y="25457"/>
                        <a:pt x="13489" y="25784"/>
                      </a:cubicBezTo>
                      <a:cubicBezTo>
                        <a:pt x="12337" y="25841"/>
                        <a:pt x="11227" y="25741"/>
                        <a:pt x="10160" y="25499"/>
                      </a:cubicBezTo>
                      <a:lnTo>
                        <a:pt x="10160" y="25499"/>
                      </a:lnTo>
                      <a:close/>
                      <a:moveTo>
                        <a:pt x="14628" y="4909"/>
                      </a:moveTo>
                      <a:cubicBezTo>
                        <a:pt x="13945" y="4767"/>
                        <a:pt x="13247" y="4695"/>
                        <a:pt x="12508" y="4724"/>
                      </a:cubicBezTo>
                      <a:cubicBezTo>
                        <a:pt x="8011" y="4923"/>
                        <a:pt x="4510" y="8765"/>
                        <a:pt x="4710" y="13262"/>
                      </a:cubicBezTo>
                      <a:cubicBezTo>
                        <a:pt x="4909" y="17758"/>
                        <a:pt x="8751" y="21259"/>
                        <a:pt x="13247" y="21060"/>
                      </a:cubicBezTo>
                      <a:cubicBezTo>
                        <a:pt x="17744" y="20860"/>
                        <a:pt x="21245" y="17018"/>
                        <a:pt x="21045" y="12522"/>
                      </a:cubicBezTo>
                      <a:lnTo>
                        <a:pt x="21045" y="12522"/>
                      </a:lnTo>
                      <a:cubicBezTo>
                        <a:pt x="20875" y="8751"/>
                        <a:pt x="18143" y="5677"/>
                        <a:pt x="14614" y="4909"/>
                      </a:cubicBezTo>
                      <a:lnTo>
                        <a:pt x="14614" y="4909"/>
                      </a:lnTo>
                      <a:close/>
                    </a:path>
                  </a:pathLst>
                </a:custGeom>
                <a:solidFill>
                  <a:srgbClr val="FFFFFF">
                    <a:lumMod val="85000"/>
                  </a:srgbClr>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76" name="Freeform: Shape 275">
                  <a:extLst>
                    <a:ext uri="{FF2B5EF4-FFF2-40B4-BE49-F238E27FC236}">
                      <a16:creationId xmlns:a16="http://schemas.microsoft.com/office/drawing/2014/main" id="{99824504-FE53-8D34-F591-3C0A9F5F6857}"/>
                    </a:ext>
                  </a:extLst>
                </p:cNvPr>
                <p:cNvSpPr/>
                <p:nvPr/>
              </p:nvSpPr>
              <p:spPr>
                <a:xfrm>
                  <a:off x="9455640" y="2988914"/>
                  <a:ext cx="9576" cy="12152"/>
                </a:xfrm>
                <a:custGeom>
                  <a:avLst/>
                  <a:gdLst>
                    <a:gd name="connsiteX0" fmla="*/ 0 w 9576"/>
                    <a:gd name="connsiteY0" fmla="*/ 413 h 12152"/>
                    <a:gd name="connsiteX1" fmla="*/ 9036 w 9576"/>
                    <a:gd name="connsiteY1" fmla="*/ 0 h 12152"/>
                    <a:gd name="connsiteX2" fmla="*/ 9577 w 9576"/>
                    <a:gd name="connsiteY2" fmla="*/ 11740 h 12152"/>
                    <a:gd name="connsiteX3" fmla="*/ 541 w 9576"/>
                    <a:gd name="connsiteY3" fmla="*/ 12152 h 12152"/>
                    <a:gd name="connsiteX4" fmla="*/ 0 w 9576"/>
                    <a:gd name="connsiteY4" fmla="*/ 413 h 12152"/>
                    <a:gd name="connsiteX5" fmla="*/ 0 w 9576"/>
                    <a:gd name="connsiteY5" fmla="*/ 413 h 1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76" h="12152">
                      <a:moveTo>
                        <a:pt x="0" y="413"/>
                      </a:moveTo>
                      <a:lnTo>
                        <a:pt x="9036" y="0"/>
                      </a:lnTo>
                      <a:lnTo>
                        <a:pt x="9577" y="11740"/>
                      </a:lnTo>
                      <a:lnTo>
                        <a:pt x="541" y="12152"/>
                      </a:lnTo>
                      <a:lnTo>
                        <a:pt x="0" y="413"/>
                      </a:lnTo>
                      <a:lnTo>
                        <a:pt x="0" y="413"/>
                      </a:lnTo>
                      <a:close/>
                    </a:path>
                  </a:pathLst>
                </a:custGeom>
                <a:solidFill>
                  <a:srgbClr val="41728A"/>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77" name="Freeform: Shape 276">
                  <a:extLst>
                    <a:ext uri="{FF2B5EF4-FFF2-40B4-BE49-F238E27FC236}">
                      <a16:creationId xmlns:a16="http://schemas.microsoft.com/office/drawing/2014/main" id="{73A784A9-4F36-FD29-4517-D8F818AE1ABC}"/>
                    </a:ext>
                  </a:extLst>
                </p:cNvPr>
                <p:cNvSpPr/>
                <p:nvPr/>
              </p:nvSpPr>
              <p:spPr>
                <a:xfrm>
                  <a:off x="9459468" y="3072343"/>
                  <a:ext cx="9576" cy="12152"/>
                </a:xfrm>
                <a:custGeom>
                  <a:avLst/>
                  <a:gdLst>
                    <a:gd name="connsiteX0" fmla="*/ 0 w 9576"/>
                    <a:gd name="connsiteY0" fmla="*/ 413 h 12152"/>
                    <a:gd name="connsiteX1" fmla="*/ 9036 w 9576"/>
                    <a:gd name="connsiteY1" fmla="*/ 0 h 12152"/>
                    <a:gd name="connsiteX2" fmla="*/ 9577 w 9576"/>
                    <a:gd name="connsiteY2" fmla="*/ 11725 h 12152"/>
                    <a:gd name="connsiteX3" fmla="*/ 541 w 9576"/>
                    <a:gd name="connsiteY3" fmla="*/ 12152 h 12152"/>
                    <a:gd name="connsiteX4" fmla="*/ 0 w 9576"/>
                    <a:gd name="connsiteY4" fmla="*/ 413 h 12152"/>
                    <a:gd name="connsiteX5" fmla="*/ 0 w 9576"/>
                    <a:gd name="connsiteY5" fmla="*/ 413 h 1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76" h="12152">
                      <a:moveTo>
                        <a:pt x="0" y="413"/>
                      </a:moveTo>
                      <a:lnTo>
                        <a:pt x="9036" y="0"/>
                      </a:lnTo>
                      <a:lnTo>
                        <a:pt x="9577" y="11725"/>
                      </a:lnTo>
                      <a:lnTo>
                        <a:pt x="541" y="12152"/>
                      </a:lnTo>
                      <a:lnTo>
                        <a:pt x="0" y="413"/>
                      </a:lnTo>
                      <a:lnTo>
                        <a:pt x="0" y="413"/>
                      </a:lnTo>
                      <a:close/>
                    </a:path>
                  </a:pathLst>
                </a:custGeom>
                <a:solidFill>
                  <a:srgbClr val="41728A"/>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78" name="Freeform: Shape 277">
                  <a:extLst>
                    <a:ext uri="{FF2B5EF4-FFF2-40B4-BE49-F238E27FC236}">
                      <a16:creationId xmlns:a16="http://schemas.microsoft.com/office/drawing/2014/main" id="{EBB9463C-2C73-2FC1-E600-E2C9144AA8DD}"/>
                    </a:ext>
                  </a:extLst>
                </p:cNvPr>
                <p:cNvSpPr/>
                <p:nvPr/>
              </p:nvSpPr>
              <p:spPr>
                <a:xfrm>
                  <a:off x="9497974" y="3029995"/>
                  <a:ext cx="12152" cy="9576"/>
                </a:xfrm>
                <a:custGeom>
                  <a:avLst/>
                  <a:gdLst>
                    <a:gd name="connsiteX0" fmla="*/ 0 w 12152"/>
                    <a:gd name="connsiteY0" fmla="*/ 541 h 9576"/>
                    <a:gd name="connsiteX1" fmla="*/ 11740 w 12152"/>
                    <a:gd name="connsiteY1" fmla="*/ 0 h 9576"/>
                    <a:gd name="connsiteX2" fmla="*/ 12152 w 12152"/>
                    <a:gd name="connsiteY2" fmla="*/ 9036 h 9576"/>
                    <a:gd name="connsiteX3" fmla="*/ 413 w 12152"/>
                    <a:gd name="connsiteY3" fmla="*/ 9577 h 9576"/>
                    <a:gd name="connsiteX4" fmla="*/ 0 w 12152"/>
                    <a:gd name="connsiteY4" fmla="*/ 541 h 9576"/>
                    <a:gd name="connsiteX5" fmla="*/ 0 w 12152"/>
                    <a:gd name="connsiteY5" fmla="*/ 541 h 9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52" h="9576">
                      <a:moveTo>
                        <a:pt x="0" y="541"/>
                      </a:moveTo>
                      <a:lnTo>
                        <a:pt x="11740" y="0"/>
                      </a:lnTo>
                      <a:lnTo>
                        <a:pt x="12152" y="9036"/>
                      </a:lnTo>
                      <a:lnTo>
                        <a:pt x="413" y="9577"/>
                      </a:lnTo>
                      <a:lnTo>
                        <a:pt x="0" y="541"/>
                      </a:lnTo>
                      <a:lnTo>
                        <a:pt x="0" y="541"/>
                      </a:lnTo>
                      <a:close/>
                    </a:path>
                  </a:pathLst>
                </a:custGeom>
                <a:solidFill>
                  <a:srgbClr val="41728A"/>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79" name="Freeform: Shape 278">
                  <a:extLst>
                    <a:ext uri="{FF2B5EF4-FFF2-40B4-BE49-F238E27FC236}">
                      <a16:creationId xmlns:a16="http://schemas.microsoft.com/office/drawing/2014/main" id="{FBFC3941-CE22-C5D0-90FB-21EF42752C8B}"/>
                    </a:ext>
                  </a:extLst>
                </p:cNvPr>
                <p:cNvSpPr/>
                <p:nvPr/>
              </p:nvSpPr>
              <p:spPr>
                <a:xfrm>
                  <a:off x="9414545" y="3033837"/>
                  <a:ext cx="12152" cy="9562"/>
                </a:xfrm>
                <a:custGeom>
                  <a:avLst/>
                  <a:gdLst>
                    <a:gd name="connsiteX0" fmla="*/ 0 w 12152"/>
                    <a:gd name="connsiteY0" fmla="*/ 527 h 9562"/>
                    <a:gd name="connsiteX1" fmla="*/ 11740 w 12152"/>
                    <a:gd name="connsiteY1" fmla="*/ 0 h 9562"/>
                    <a:gd name="connsiteX2" fmla="*/ 12152 w 12152"/>
                    <a:gd name="connsiteY2" fmla="*/ 9022 h 9562"/>
                    <a:gd name="connsiteX3" fmla="*/ 427 w 12152"/>
                    <a:gd name="connsiteY3" fmla="*/ 9562 h 9562"/>
                    <a:gd name="connsiteX4" fmla="*/ 0 w 12152"/>
                    <a:gd name="connsiteY4" fmla="*/ 527 h 9562"/>
                    <a:gd name="connsiteX5" fmla="*/ 0 w 12152"/>
                    <a:gd name="connsiteY5" fmla="*/ 527 h 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52" h="9562">
                      <a:moveTo>
                        <a:pt x="0" y="527"/>
                      </a:moveTo>
                      <a:lnTo>
                        <a:pt x="11740" y="0"/>
                      </a:lnTo>
                      <a:lnTo>
                        <a:pt x="12152" y="9022"/>
                      </a:lnTo>
                      <a:lnTo>
                        <a:pt x="427" y="9562"/>
                      </a:lnTo>
                      <a:lnTo>
                        <a:pt x="0" y="527"/>
                      </a:lnTo>
                      <a:lnTo>
                        <a:pt x="0" y="527"/>
                      </a:lnTo>
                      <a:close/>
                    </a:path>
                  </a:pathLst>
                </a:custGeom>
                <a:solidFill>
                  <a:srgbClr val="41728A"/>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80" name="Freeform: Shape 279">
                  <a:extLst>
                    <a:ext uri="{FF2B5EF4-FFF2-40B4-BE49-F238E27FC236}">
                      <a16:creationId xmlns:a16="http://schemas.microsoft.com/office/drawing/2014/main" id="{8AAB1198-7B51-EFFD-09DE-F628937B8579}"/>
                    </a:ext>
                  </a:extLst>
                </p:cNvPr>
                <p:cNvSpPr/>
                <p:nvPr/>
              </p:nvSpPr>
              <p:spPr>
                <a:xfrm>
                  <a:off x="9482677" y="2997992"/>
                  <a:ext cx="14542" cy="14798"/>
                </a:xfrm>
                <a:custGeom>
                  <a:avLst/>
                  <a:gdLst>
                    <a:gd name="connsiteX0" fmla="*/ 0 w 14542"/>
                    <a:gd name="connsiteY0" fmla="*/ 8808 h 14798"/>
                    <a:gd name="connsiteX1" fmla="*/ 7769 w 14542"/>
                    <a:gd name="connsiteY1" fmla="*/ 0 h 14798"/>
                    <a:gd name="connsiteX2" fmla="*/ 14543 w 14542"/>
                    <a:gd name="connsiteY2" fmla="*/ 5977 h 14798"/>
                    <a:gd name="connsiteX3" fmla="*/ 6773 w 14542"/>
                    <a:gd name="connsiteY3" fmla="*/ 14799 h 14798"/>
                    <a:gd name="connsiteX4" fmla="*/ 0 w 14542"/>
                    <a:gd name="connsiteY4" fmla="*/ 8808 h 14798"/>
                    <a:gd name="connsiteX5" fmla="*/ 0 w 14542"/>
                    <a:gd name="connsiteY5" fmla="*/ 8808 h 1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42" h="14798">
                      <a:moveTo>
                        <a:pt x="0" y="8808"/>
                      </a:moveTo>
                      <a:lnTo>
                        <a:pt x="7769" y="0"/>
                      </a:lnTo>
                      <a:lnTo>
                        <a:pt x="14543" y="5977"/>
                      </a:lnTo>
                      <a:lnTo>
                        <a:pt x="6773" y="14799"/>
                      </a:lnTo>
                      <a:lnTo>
                        <a:pt x="0" y="8808"/>
                      </a:lnTo>
                      <a:lnTo>
                        <a:pt x="0" y="8808"/>
                      </a:lnTo>
                      <a:close/>
                    </a:path>
                  </a:pathLst>
                </a:custGeom>
                <a:solidFill>
                  <a:srgbClr val="41728A"/>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81" name="Freeform: Shape 280">
                  <a:extLst>
                    <a:ext uri="{FF2B5EF4-FFF2-40B4-BE49-F238E27FC236}">
                      <a16:creationId xmlns:a16="http://schemas.microsoft.com/office/drawing/2014/main" id="{43801B67-9ED6-7E5C-EB54-D24A8BB9DCF9}"/>
                    </a:ext>
                  </a:extLst>
                </p:cNvPr>
                <p:cNvSpPr/>
                <p:nvPr/>
              </p:nvSpPr>
              <p:spPr>
                <a:xfrm>
                  <a:off x="9427437" y="3060632"/>
                  <a:ext cx="14557" cy="14798"/>
                </a:xfrm>
                <a:custGeom>
                  <a:avLst/>
                  <a:gdLst>
                    <a:gd name="connsiteX0" fmla="*/ 0 w 14557"/>
                    <a:gd name="connsiteY0" fmla="*/ 8808 h 14798"/>
                    <a:gd name="connsiteX1" fmla="*/ 7769 w 14557"/>
                    <a:gd name="connsiteY1" fmla="*/ 0 h 14798"/>
                    <a:gd name="connsiteX2" fmla="*/ 14557 w 14557"/>
                    <a:gd name="connsiteY2" fmla="*/ 5976 h 14798"/>
                    <a:gd name="connsiteX3" fmla="*/ 6788 w 14557"/>
                    <a:gd name="connsiteY3" fmla="*/ 14799 h 14798"/>
                    <a:gd name="connsiteX4" fmla="*/ 0 w 14557"/>
                    <a:gd name="connsiteY4" fmla="*/ 8808 h 14798"/>
                    <a:gd name="connsiteX5" fmla="*/ 0 w 14557"/>
                    <a:gd name="connsiteY5" fmla="*/ 8808 h 1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7" h="14798">
                      <a:moveTo>
                        <a:pt x="0" y="8808"/>
                      </a:moveTo>
                      <a:lnTo>
                        <a:pt x="7769" y="0"/>
                      </a:lnTo>
                      <a:lnTo>
                        <a:pt x="14557" y="5976"/>
                      </a:lnTo>
                      <a:lnTo>
                        <a:pt x="6788" y="14799"/>
                      </a:lnTo>
                      <a:lnTo>
                        <a:pt x="0" y="8808"/>
                      </a:lnTo>
                      <a:lnTo>
                        <a:pt x="0" y="8808"/>
                      </a:lnTo>
                      <a:close/>
                    </a:path>
                  </a:pathLst>
                </a:custGeom>
                <a:solidFill>
                  <a:srgbClr val="41728A"/>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82" name="Freeform: Shape 281">
                  <a:extLst>
                    <a:ext uri="{FF2B5EF4-FFF2-40B4-BE49-F238E27FC236}">
                      <a16:creationId xmlns:a16="http://schemas.microsoft.com/office/drawing/2014/main" id="{27955A87-ACB8-2170-64D8-58E8B0F37DA1}"/>
                    </a:ext>
                  </a:extLst>
                </p:cNvPr>
                <p:cNvSpPr/>
                <p:nvPr/>
              </p:nvSpPr>
              <p:spPr>
                <a:xfrm>
                  <a:off x="9486263" y="3057046"/>
                  <a:ext cx="14784" cy="14557"/>
                </a:xfrm>
                <a:custGeom>
                  <a:avLst/>
                  <a:gdLst>
                    <a:gd name="connsiteX0" fmla="*/ 0 w 14784"/>
                    <a:gd name="connsiteY0" fmla="*/ 6788 h 14557"/>
                    <a:gd name="connsiteX1" fmla="*/ 5976 w 14784"/>
                    <a:gd name="connsiteY1" fmla="*/ 0 h 14557"/>
                    <a:gd name="connsiteX2" fmla="*/ 14785 w 14784"/>
                    <a:gd name="connsiteY2" fmla="*/ 7769 h 14557"/>
                    <a:gd name="connsiteX3" fmla="*/ 8808 w 14784"/>
                    <a:gd name="connsiteY3" fmla="*/ 14557 h 14557"/>
                    <a:gd name="connsiteX4" fmla="*/ 0 w 14784"/>
                    <a:gd name="connsiteY4" fmla="*/ 6788 h 14557"/>
                    <a:gd name="connsiteX5" fmla="*/ 0 w 14784"/>
                    <a:gd name="connsiteY5" fmla="*/ 6788 h 14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84" h="14557">
                      <a:moveTo>
                        <a:pt x="0" y="6788"/>
                      </a:moveTo>
                      <a:lnTo>
                        <a:pt x="5976" y="0"/>
                      </a:lnTo>
                      <a:lnTo>
                        <a:pt x="14785" y="7769"/>
                      </a:lnTo>
                      <a:lnTo>
                        <a:pt x="8808" y="14557"/>
                      </a:lnTo>
                      <a:lnTo>
                        <a:pt x="0" y="6788"/>
                      </a:lnTo>
                      <a:lnTo>
                        <a:pt x="0" y="6788"/>
                      </a:lnTo>
                      <a:close/>
                    </a:path>
                  </a:pathLst>
                </a:custGeom>
                <a:solidFill>
                  <a:srgbClr val="41728A"/>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83" name="Freeform: Shape 282">
                  <a:extLst>
                    <a:ext uri="{FF2B5EF4-FFF2-40B4-BE49-F238E27FC236}">
                      <a16:creationId xmlns:a16="http://schemas.microsoft.com/office/drawing/2014/main" id="{DED7CF13-3C89-3627-D60B-BC5136AF0C48}"/>
                    </a:ext>
                  </a:extLst>
                </p:cNvPr>
                <p:cNvSpPr/>
                <p:nvPr/>
              </p:nvSpPr>
              <p:spPr>
                <a:xfrm>
                  <a:off x="9423623" y="3001820"/>
                  <a:ext cx="14784" cy="14542"/>
                </a:xfrm>
                <a:custGeom>
                  <a:avLst/>
                  <a:gdLst>
                    <a:gd name="connsiteX0" fmla="*/ 0 w 14784"/>
                    <a:gd name="connsiteY0" fmla="*/ 6773 h 14542"/>
                    <a:gd name="connsiteX1" fmla="*/ 5976 w 14784"/>
                    <a:gd name="connsiteY1" fmla="*/ 0 h 14542"/>
                    <a:gd name="connsiteX2" fmla="*/ 14785 w 14784"/>
                    <a:gd name="connsiteY2" fmla="*/ 7769 h 14542"/>
                    <a:gd name="connsiteX3" fmla="*/ 8808 w 14784"/>
                    <a:gd name="connsiteY3" fmla="*/ 14543 h 14542"/>
                    <a:gd name="connsiteX4" fmla="*/ 0 w 14784"/>
                    <a:gd name="connsiteY4" fmla="*/ 6773 h 14542"/>
                    <a:gd name="connsiteX5" fmla="*/ 0 w 14784"/>
                    <a:gd name="connsiteY5" fmla="*/ 6773 h 1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84" h="14542">
                      <a:moveTo>
                        <a:pt x="0" y="6773"/>
                      </a:moveTo>
                      <a:lnTo>
                        <a:pt x="5976" y="0"/>
                      </a:lnTo>
                      <a:lnTo>
                        <a:pt x="14785" y="7769"/>
                      </a:lnTo>
                      <a:lnTo>
                        <a:pt x="8808" y="14543"/>
                      </a:lnTo>
                      <a:lnTo>
                        <a:pt x="0" y="6773"/>
                      </a:lnTo>
                      <a:lnTo>
                        <a:pt x="0" y="6773"/>
                      </a:lnTo>
                      <a:close/>
                    </a:path>
                  </a:pathLst>
                </a:custGeom>
                <a:solidFill>
                  <a:srgbClr val="41728A"/>
                </a:solidFill>
                <a:ln w="1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84" name="Freeform: Shape 283">
                  <a:extLst>
                    <a:ext uri="{FF2B5EF4-FFF2-40B4-BE49-F238E27FC236}">
                      <a16:creationId xmlns:a16="http://schemas.microsoft.com/office/drawing/2014/main" id="{EC97D037-1552-6F12-392F-FFB9CD7B7EC1}"/>
                    </a:ext>
                  </a:extLst>
                </p:cNvPr>
                <p:cNvSpPr/>
                <p:nvPr/>
              </p:nvSpPr>
              <p:spPr>
                <a:xfrm rot="16210200">
                  <a:off x="9565194" y="2988398"/>
                  <a:ext cx="66935" cy="21595"/>
                </a:xfrm>
                <a:custGeom>
                  <a:avLst/>
                  <a:gdLst>
                    <a:gd name="connsiteX0" fmla="*/ 0 w 80159"/>
                    <a:gd name="connsiteY0" fmla="*/ 0 h 25861"/>
                    <a:gd name="connsiteX1" fmla="*/ 80160 w 80159"/>
                    <a:gd name="connsiteY1" fmla="*/ 0 h 25861"/>
                    <a:gd name="connsiteX2" fmla="*/ 80160 w 80159"/>
                    <a:gd name="connsiteY2" fmla="*/ 25861 h 25861"/>
                    <a:gd name="connsiteX3" fmla="*/ 0 w 80159"/>
                    <a:gd name="connsiteY3" fmla="*/ 25861 h 25861"/>
                  </a:gdLst>
                  <a:ahLst/>
                  <a:cxnLst>
                    <a:cxn ang="0">
                      <a:pos x="connsiteX0" y="connsiteY0"/>
                    </a:cxn>
                    <a:cxn ang="0">
                      <a:pos x="connsiteX1" y="connsiteY1"/>
                    </a:cxn>
                    <a:cxn ang="0">
                      <a:pos x="connsiteX2" y="connsiteY2"/>
                    </a:cxn>
                    <a:cxn ang="0">
                      <a:pos x="connsiteX3" y="connsiteY3"/>
                    </a:cxn>
                  </a:cxnLst>
                  <a:rect l="l" t="t" r="r" b="b"/>
                  <a:pathLst>
                    <a:path w="80159" h="25861">
                      <a:moveTo>
                        <a:pt x="0" y="0"/>
                      </a:moveTo>
                      <a:lnTo>
                        <a:pt x="80160" y="0"/>
                      </a:lnTo>
                      <a:lnTo>
                        <a:pt x="80160" y="25861"/>
                      </a:lnTo>
                      <a:lnTo>
                        <a:pt x="0" y="25861"/>
                      </a:lnTo>
                      <a:close/>
                    </a:path>
                  </a:pathLst>
                </a:custGeom>
                <a:gradFill>
                  <a:gsLst>
                    <a:gs pos="100000">
                      <a:srgbClr val="FFFFFF"/>
                    </a:gs>
                    <a:gs pos="0">
                      <a:srgbClr val="FFFFFF">
                        <a:lumMod val="85000"/>
                      </a:srgbClr>
                    </a:gs>
                  </a:gsLst>
                  <a:lin ang="0" scaled="1"/>
                </a:gradFill>
                <a:ln w="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85" name="Freeform: Shape 284">
                  <a:extLst>
                    <a:ext uri="{FF2B5EF4-FFF2-40B4-BE49-F238E27FC236}">
                      <a16:creationId xmlns:a16="http://schemas.microsoft.com/office/drawing/2014/main" id="{5A8B65D0-D25E-4549-CA2D-6AC8D3348DC6}"/>
                    </a:ext>
                  </a:extLst>
                </p:cNvPr>
                <p:cNvSpPr/>
                <p:nvPr/>
              </p:nvSpPr>
              <p:spPr>
                <a:xfrm>
                  <a:off x="9192658" y="2938410"/>
                  <a:ext cx="416366" cy="285480"/>
                </a:xfrm>
                <a:custGeom>
                  <a:avLst/>
                  <a:gdLst>
                    <a:gd name="connsiteX0" fmla="*/ 497957 w 498620"/>
                    <a:gd name="connsiteY0" fmla="*/ 341866 h 341877"/>
                    <a:gd name="connsiteX1" fmla="*/ 0 w 498620"/>
                    <a:gd name="connsiteY1" fmla="*/ 341866 h 341877"/>
                    <a:gd name="connsiteX2" fmla="*/ 0 w 498620"/>
                    <a:gd name="connsiteY2" fmla="*/ 16563 h 341877"/>
                    <a:gd name="connsiteX3" fmla="*/ 4858 w 498620"/>
                    <a:gd name="connsiteY3" fmla="*/ 4846 h 341877"/>
                    <a:gd name="connsiteX4" fmla="*/ 16563 w 498620"/>
                    <a:gd name="connsiteY4" fmla="*/ 0 h 341877"/>
                    <a:gd name="connsiteX5" fmla="*/ 16563 w 498620"/>
                    <a:gd name="connsiteY5" fmla="*/ 0 h 341877"/>
                    <a:gd name="connsiteX6" fmla="*/ 374991 w 498620"/>
                    <a:gd name="connsiteY6" fmla="*/ 304 h 341877"/>
                    <a:gd name="connsiteX7" fmla="*/ 374969 w 498620"/>
                    <a:gd name="connsiteY7" fmla="*/ 26165 h 341877"/>
                    <a:gd name="connsiteX8" fmla="*/ 25850 w 498620"/>
                    <a:gd name="connsiteY8" fmla="*/ 25873 h 341877"/>
                    <a:gd name="connsiteX9" fmla="*/ 25850 w 498620"/>
                    <a:gd name="connsiteY9" fmla="*/ 316005 h 341877"/>
                    <a:gd name="connsiteX10" fmla="*/ 472152 w 498620"/>
                    <a:gd name="connsiteY10" fmla="*/ 316005 h 341877"/>
                    <a:gd name="connsiteX11" fmla="*/ 472759 w 498620"/>
                    <a:gd name="connsiteY11" fmla="*/ 112823 h 341877"/>
                    <a:gd name="connsiteX12" fmla="*/ 498621 w 498620"/>
                    <a:gd name="connsiteY12" fmla="*/ 112902 h 341877"/>
                    <a:gd name="connsiteX13" fmla="*/ 497934 w 498620"/>
                    <a:gd name="connsiteY13" fmla="*/ 341877 h 34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8620" h="341877">
                      <a:moveTo>
                        <a:pt x="497957" y="341866"/>
                      </a:moveTo>
                      <a:lnTo>
                        <a:pt x="0" y="341866"/>
                      </a:lnTo>
                      <a:lnTo>
                        <a:pt x="0" y="16563"/>
                      </a:lnTo>
                      <a:cubicBezTo>
                        <a:pt x="0" y="12132"/>
                        <a:pt x="1720" y="7972"/>
                        <a:pt x="4858" y="4846"/>
                      </a:cubicBezTo>
                      <a:cubicBezTo>
                        <a:pt x="7983" y="1720"/>
                        <a:pt x="12144" y="0"/>
                        <a:pt x="16563" y="0"/>
                      </a:cubicBezTo>
                      <a:lnTo>
                        <a:pt x="16563" y="0"/>
                      </a:lnTo>
                      <a:lnTo>
                        <a:pt x="374991" y="304"/>
                      </a:lnTo>
                      <a:lnTo>
                        <a:pt x="374969" y="26165"/>
                      </a:lnTo>
                      <a:lnTo>
                        <a:pt x="25850" y="25873"/>
                      </a:lnTo>
                      <a:lnTo>
                        <a:pt x="25850" y="316005"/>
                      </a:lnTo>
                      <a:lnTo>
                        <a:pt x="472152" y="316005"/>
                      </a:lnTo>
                      <a:lnTo>
                        <a:pt x="472759" y="112823"/>
                      </a:lnTo>
                      <a:lnTo>
                        <a:pt x="498621" y="112902"/>
                      </a:lnTo>
                      <a:lnTo>
                        <a:pt x="497934" y="341877"/>
                      </a:lnTo>
                      <a:close/>
                    </a:path>
                  </a:pathLst>
                </a:custGeom>
                <a:solidFill>
                  <a:srgbClr val="FFFFFF">
                    <a:lumMod val="85000"/>
                  </a:srgbClr>
                </a:solidFill>
                <a:ln w="11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86" name="Freeform: Shape 285">
                  <a:extLst>
                    <a:ext uri="{FF2B5EF4-FFF2-40B4-BE49-F238E27FC236}">
                      <a16:creationId xmlns:a16="http://schemas.microsoft.com/office/drawing/2014/main" id="{C84B4F1E-AFFC-E3E5-3B7B-40032FBAC7CF}"/>
                    </a:ext>
                  </a:extLst>
                </p:cNvPr>
                <p:cNvSpPr/>
                <p:nvPr/>
              </p:nvSpPr>
              <p:spPr>
                <a:xfrm>
                  <a:off x="9505790" y="2938711"/>
                  <a:ext cx="83760" cy="21595"/>
                </a:xfrm>
                <a:custGeom>
                  <a:avLst/>
                  <a:gdLst>
                    <a:gd name="connsiteX0" fmla="*/ 0 w 100308"/>
                    <a:gd name="connsiteY0" fmla="*/ 0 h 25861"/>
                    <a:gd name="connsiteX1" fmla="*/ 100309 w 100308"/>
                    <a:gd name="connsiteY1" fmla="*/ 0 h 25861"/>
                    <a:gd name="connsiteX2" fmla="*/ 100309 w 100308"/>
                    <a:gd name="connsiteY2" fmla="*/ 25861 h 25861"/>
                    <a:gd name="connsiteX3" fmla="*/ 0 w 100308"/>
                    <a:gd name="connsiteY3" fmla="*/ 25861 h 25861"/>
                  </a:gdLst>
                  <a:ahLst/>
                  <a:cxnLst>
                    <a:cxn ang="0">
                      <a:pos x="connsiteX0" y="connsiteY0"/>
                    </a:cxn>
                    <a:cxn ang="0">
                      <a:pos x="connsiteX1" y="connsiteY1"/>
                    </a:cxn>
                    <a:cxn ang="0">
                      <a:pos x="connsiteX2" y="connsiteY2"/>
                    </a:cxn>
                    <a:cxn ang="0">
                      <a:pos x="connsiteX3" y="connsiteY3"/>
                    </a:cxn>
                  </a:cxnLst>
                  <a:rect l="l" t="t" r="r" b="b"/>
                  <a:pathLst>
                    <a:path w="100308" h="25861">
                      <a:moveTo>
                        <a:pt x="0" y="0"/>
                      </a:moveTo>
                      <a:lnTo>
                        <a:pt x="100309" y="0"/>
                      </a:lnTo>
                      <a:lnTo>
                        <a:pt x="100309" y="25861"/>
                      </a:lnTo>
                      <a:lnTo>
                        <a:pt x="0" y="25861"/>
                      </a:lnTo>
                      <a:close/>
                    </a:path>
                  </a:pathLst>
                </a:custGeom>
                <a:gradFill>
                  <a:gsLst>
                    <a:gs pos="100000">
                      <a:srgbClr val="FFFFFF"/>
                    </a:gs>
                    <a:gs pos="0">
                      <a:srgbClr val="FFFFFF">
                        <a:lumMod val="85000"/>
                      </a:srgbClr>
                    </a:gs>
                  </a:gsLst>
                  <a:lin ang="0" scaled="1"/>
                </a:gradFill>
                <a:ln w="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87" name="Freeform: Shape 286">
                  <a:extLst>
                    <a:ext uri="{FF2B5EF4-FFF2-40B4-BE49-F238E27FC236}">
                      <a16:creationId xmlns:a16="http://schemas.microsoft.com/office/drawing/2014/main" id="{A1979CA2-26E8-4CCA-1667-423C47037823}"/>
                    </a:ext>
                  </a:extLst>
                </p:cNvPr>
                <p:cNvSpPr/>
                <p:nvPr/>
              </p:nvSpPr>
              <p:spPr>
                <a:xfrm>
                  <a:off x="9149120" y="3287577"/>
                  <a:ext cx="499705" cy="21595"/>
                </a:xfrm>
                <a:custGeom>
                  <a:avLst/>
                  <a:gdLst>
                    <a:gd name="connsiteX0" fmla="*/ 0 w 598423"/>
                    <a:gd name="connsiteY0" fmla="*/ 0 h 25861"/>
                    <a:gd name="connsiteX1" fmla="*/ 598424 w 598423"/>
                    <a:gd name="connsiteY1" fmla="*/ 0 h 25861"/>
                    <a:gd name="connsiteX2" fmla="*/ 598424 w 598423"/>
                    <a:gd name="connsiteY2" fmla="*/ 25861 h 25861"/>
                    <a:gd name="connsiteX3" fmla="*/ 0 w 598423"/>
                    <a:gd name="connsiteY3" fmla="*/ 25861 h 25861"/>
                  </a:gdLst>
                  <a:ahLst/>
                  <a:cxnLst>
                    <a:cxn ang="0">
                      <a:pos x="connsiteX0" y="connsiteY0"/>
                    </a:cxn>
                    <a:cxn ang="0">
                      <a:pos x="connsiteX1" y="connsiteY1"/>
                    </a:cxn>
                    <a:cxn ang="0">
                      <a:pos x="connsiteX2" y="connsiteY2"/>
                    </a:cxn>
                    <a:cxn ang="0">
                      <a:pos x="connsiteX3" y="connsiteY3"/>
                    </a:cxn>
                  </a:cxnLst>
                  <a:rect l="l" t="t" r="r" b="b"/>
                  <a:pathLst>
                    <a:path w="598423" h="25861">
                      <a:moveTo>
                        <a:pt x="0" y="0"/>
                      </a:moveTo>
                      <a:lnTo>
                        <a:pt x="598424" y="0"/>
                      </a:lnTo>
                      <a:lnTo>
                        <a:pt x="598424" y="25861"/>
                      </a:lnTo>
                      <a:lnTo>
                        <a:pt x="0" y="25861"/>
                      </a:lnTo>
                      <a:close/>
                    </a:path>
                  </a:pathLst>
                </a:custGeom>
                <a:solidFill>
                  <a:srgbClr val="FFFFFF">
                    <a:lumMod val="85000"/>
                  </a:srgbClr>
                </a:solidFill>
                <a:ln w="11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88" name="Freeform: Shape 287">
                  <a:extLst>
                    <a:ext uri="{FF2B5EF4-FFF2-40B4-BE49-F238E27FC236}">
                      <a16:creationId xmlns:a16="http://schemas.microsoft.com/office/drawing/2014/main" id="{15780DD2-108E-CFD8-315B-59C62E9ABC57}"/>
                    </a:ext>
                  </a:extLst>
                </p:cNvPr>
                <p:cNvSpPr/>
                <p:nvPr/>
              </p:nvSpPr>
              <p:spPr>
                <a:xfrm>
                  <a:off x="9237698" y="2988342"/>
                  <a:ext cx="57256" cy="67969"/>
                </a:xfrm>
                <a:custGeom>
                  <a:avLst/>
                  <a:gdLst>
                    <a:gd name="connsiteX0" fmla="*/ 8995 w 68566"/>
                    <a:gd name="connsiteY0" fmla="*/ 81396 h 81396"/>
                    <a:gd name="connsiteX1" fmla="*/ 0 w 68566"/>
                    <a:gd name="connsiteY1" fmla="*/ 81396 h 81396"/>
                    <a:gd name="connsiteX2" fmla="*/ 0 w 68566"/>
                    <a:gd name="connsiteY2" fmla="*/ 17215 h 81396"/>
                    <a:gd name="connsiteX3" fmla="*/ 17215 w 68566"/>
                    <a:gd name="connsiteY3" fmla="*/ 0 h 81396"/>
                    <a:gd name="connsiteX4" fmla="*/ 68567 w 68566"/>
                    <a:gd name="connsiteY4" fmla="*/ 0 h 81396"/>
                    <a:gd name="connsiteX5" fmla="*/ 68567 w 68566"/>
                    <a:gd name="connsiteY5" fmla="*/ 8995 h 81396"/>
                    <a:gd name="connsiteX6" fmla="*/ 17215 w 68566"/>
                    <a:gd name="connsiteY6" fmla="*/ 8995 h 81396"/>
                    <a:gd name="connsiteX7" fmla="*/ 8995 w 68566"/>
                    <a:gd name="connsiteY7" fmla="*/ 17215 h 81396"/>
                    <a:gd name="connsiteX8" fmla="*/ 8995 w 68566"/>
                    <a:gd name="connsiteY8" fmla="*/ 81396 h 8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66" h="81396">
                      <a:moveTo>
                        <a:pt x="8995" y="81396"/>
                      </a:moveTo>
                      <a:lnTo>
                        <a:pt x="0" y="81396"/>
                      </a:lnTo>
                      <a:lnTo>
                        <a:pt x="0" y="17215"/>
                      </a:lnTo>
                      <a:cubicBezTo>
                        <a:pt x="0" y="7725"/>
                        <a:pt x="7725" y="0"/>
                        <a:pt x="17215" y="0"/>
                      </a:cubicBezTo>
                      <a:lnTo>
                        <a:pt x="68567" y="0"/>
                      </a:lnTo>
                      <a:lnTo>
                        <a:pt x="68567" y="8995"/>
                      </a:lnTo>
                      <a:lnTo>
                        <a:pt x="17215" y="8995"/>
                      </a:lnTo>
                      <a:cubicBezTo>
                        <a:pt x="12683" y="8995"/>
                        <a:pt x="8995" y="12683"/>
                        <a:pt x="8995" y="17215"/>
                      </a:cubicBezTo>
                      <a:lnTo>
                        <a:pt x="8995" y="81396"/>
                      </a:lnTo>
                      <a:close/>
                    </a:path>
                  </a:pathLst>
                </a:custGeom>
                <a:solidFill>
                  <a:srgbClr val="FFFFFF">
                    <a:lumMod val="85000"/>
                  </a:srgbClr>
                </a:solidFill>
                <a:ln w="11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89" name="Freeform: Shape 288">
                  <a:extLst>
                    <a:ext uri="{FF2B5EF4-FFF2-40B4-BE49-F238E27FC236}">
                      <a16:creationId xmlns:a16="http://schemas.microsoft.com/office/drawing/2014/main" id="{0596100E-8DA8-30B6-B559-291FB321485F}"/>
                    </a:ext>
                  </a:extLst>
                </p:cNvPr>
                <p:cNvSpPr/>
                <p:nvPr/>
              </p:nvSpPr>
              <p:spPr>
                <a:xfrm>
                  <a:off x="9305676" y="2988332"/>
                  <a:ext cx="18938" cy="7511"/>
                </a:xfrm>
                <a:custGeom>
                  <a:avLst/>
                  <a:gdLst>
                    <a:gd name="connsiteX0" fmla="*/ 0 w 22679"/>
                    <a:gd name="connsiteY0" fmla="*/ 0 h 8995"/>
                    <a:gd name="connsiteX1" fmla="*/ 22679 w 22679"/>
                    <a:gd name="connsiteY1" fmla="*/ 0 h 8995"/>
                    <a:gd name="connsiteX2" fmla="*/ 22679 w 22679"/>
                    <a:gd name="connsiteY2" fmla="*/ 8995 h 8995"/>
                    <a:gd name="connsiteX3" fmla="*/ 0 w 22679"/>
                    <a:gd name="connsiteY3" fmla="*/ 8995 h 8995"/>
                  </a:gdLst>
                  <a:ahLst/>
                  <a:cxnLst>
                    <a:cxn ang="0">
                      <a:pos x="connsiteX0" y="connsiteY0"/>
                    </a:cxn>
                    <a:cxn ang="0">
                      <a:pos x="connsiteX1" y="connsiteY1"/>
                    </a:cxn>
                    <a:cxn ang="0">
                      <a:pos x="connsiteX2" y="connsiteY2"/>
                    </a:cxn>
                    <a:cxn ang="0">
                      <a:pos x="connsiteX3" y="connsiteY3"/>
                    </a:cxn>
                  </a:cxnLst>
                  <a:rect l="l" t="t" r="r" b="b"/>
                  <a:pathLst>
                    <a:path w="22679" h="8995">
                      <a:moveTo>
                        <a:pt x="0" y="0"/>
                      </a:moveTo>
                      <a:lnTo>
                        <a:pt x="22679" y="0"/>
                      </a:lnTo>
                      <a:lnTo>
                        <a:pt x="22679" y="8995"/>
                      </a:lnTo>
                      <a:lnTo>
                        <a:pt x="0" y="8995"/>
                      </a:lnTo>
                      <a:close/>
                    </a:path>
                  </a:pathLst>
                </a:custGeom>
                <a:solidFill>
                  <a:srgbClr val="FFFFFF">
                    <a:lumMod val="85000"/>
                  </a:srgbClr>
                </a:solidFill>
                <a:ln w="11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90" name="Freeform: Shape 289">
                  <a:extLst>
                    <a:ext uri="{FF2B5EF4-FFF2-40B4-BE49-F238E27FC236}">
                      <a16:creationId xmlns:a16="http://schemas.microsoft.com/office/drawing/2014/main" id="{5666696E-CBC7-733F-389E-5F4B1E2E7C47}"/>
                    </a:ext>
                  </a:extLst>
                </p:cNvPr>
                <p:cNvSpPr/>
                <p:nvPr/>
              </p:nvSpPr>
              <p:spPr>
                <a:xfrm rot="10800000">
                  <a:off x="9583617" y="2935969"/>
                  <a:ext cx="31031" cy="31031"/>
                </a:xfrm>
                <a:custGeom>
                  <a:avLst/>
                  <a:gdLst>
                    <a:gd name="connsiteX0" fmla="*/ 0 w 37161"/>
                    <a:gd name="connsiteY0" fmla="*/ 0 h 37161"/>
                    <a:gd name="connsiteX1" fmla="*/ 37161 w 37161"/>
                    <a:gd name="connsiteY1" fmla="*/ 0 h 37161"/>
                    <a:gd name="connsiteX2" fmla="*/ 37161 w 37161"/>
                    <a:gd name="connsiteY2" fmla="*/ 37162 h 37161"/>
                    <a:gd name="connsiteX3" fmla="*/ 0 w 37161"/>
                    <a:gd name="connsiteY3" fmla="*/ 37162 h 37161"/>
                  </a:gdLst>
                  <a:ahLst/>
                  <a:cxnLst>
                    <a:cxn ang="0">
                      <a:pos x="connsiteX0" y="connsiteY0"/>
                    </a:cxn>
                    <a:cxn ang="0">
                      <a:pos x="connsiteX1" y="connsiteY1"/>
                    </a:cxn>
                    <a:cxn ang="0">
                      <a:pos x="connsiteX2" y="connsiteY2"/>
                    </a:cxn>
                    <a:cxn ang="0">
                      <a:pos x="connsiteX3" y="connsiteY3"/>
                    </a:cxn>
                  </a:cxnLst>
                  <a:rect l="l" t="t" r="r" b="b"/>
                  <a:pathLst>
                    <a:path w="37161" h="37161">
                      <a:moveTo>
                        <a:pt x="0" y="0"/>
                      </a:moveTo>
                      <a:lnTo>
                        <a:pt x="37161" y="0"/>
                      </a:lnTo>
                      <a:lnTo>
                        <a:pt x="37161" y="37162"/>
                      </a:lnTo>
                      <a:lnTo>
                        <a:pt x="0" y="37162"/>
                      </a:lnTo>
                      <a:close/>
                    </a:path>
                  </a:pathLst>
                </a:custGeom>
                <a:solidFill>
                  <a:srgbClr val="41728A"/>
                </a:solidFill>
                <a:ln w="11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91" name="Freeform: Shape 290">
                  <a:extLst>
                    <a:ext uri="{FF2B5EF4-FFF2-40B4-BE49-F238E27FC236}">
                      <a16:creationId xmlns:a16="http://schemas.microsoft.com/office/drawing/2014/main" id="{D8C1457C-417E-FA3E-92C7-54C9D8FFCC68}"/>
                    </a:ext>
                  </a:extLst>
                </p:cNvPr>
                <p:cNvSpPr/>
                <p:nvPr/>
              </p:nvSpPr>
              <p:spPr>
                <a:xfrm rot="10800000">
                  <a:off x="9616977" y="2903201"/>
                  <a:ext cx="31031" cy="31031"/>
                </a:xfrm>
                <a:custGeom>
                  <a:avLst/>
                  <a:gdLst>
                    <a:gd name="connsiteX0" fmla="*/ 0 w 37161"/>
                    <a:gd name="connsiteY0" fmla="*/ 0 h 37161"/>
                    <a:gd name="connsiteX1" fmla="*/ 37161 w 37161"/>
                    <a:gd name="connsiteY1" fmla="*/ 0 h 37161"/>
                    <a:gd name="connsiteX2" fmla="*/ 37161 w 37161"/>
                    <a:gd name="connsiteY2" fmla="*/ 37162 h 37161"/>
                    <a:gd name="connsiteX3" fmla="*/ 0 w 37161"/>
                    <a:gd name="connsiteY3" fmla="*/ 37162 h 37161"/>
                  </a:gdLst>
                  <a:ahLst/>
                  <a:cxnLst>
                    <a:cxn ang="0">
                      <a:pos x="connsiteX0" y="connsiteY0"/>
                    </a:cxn>
                    <a:cxn ang="0">
                      <a:pos x="connsiteX1" y="connsiteY1"/>
                    </a:cxn>
                    <a:cxn ang="0">
                      <a:pos x="connsiteX2" y="connsiteY2"/>
                    </a:cxn>
                    <a:cxn ang="0">
                      <a:pos x="connsiteX3" y="connsiteY3"/>
                    </a:cxn>
                  </a:cxnLst>
                  <a:rect l="l" t="t" r="r" b="b"/>
                  <a:pathLst>
                    <a:path w="37161" h="37161">
                      <a:moveTo>
                        <a:pt x="0" y="0"/>
                      </a:moveTo>
                      <a:lnTo>
                        <a:pt x="37161" y="0"/>
                      </a:lnTo>
                      <a:lnTo>
                        <a:pt x="37161" y="37162"/>
                      </a:lnTo>
                      <a:lnTo>
                        <a:pt x="0" y="37162"/>
                      </a:lnTo>
                      <a:close/>
                    </a:path>
                  </a:pathLst>
                </a:custGeom>
                <a:solidFill>
                  <a:srgbClr val="41728A"/>
                </a:solidFill>
                <a:ln w="11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92" name="Freeform: Shape 291">
                  <a:extLst>
                    <a:ext uri="{FF2B5EF4-FFF2-40B4-BE49-F238E27FC236}">
                      <a16:creationId xmlns:a16="http://schemas.microsoft.com/office/drawing/2014/main" id="{493B443F-E6AE-69D4-5C71-D4BAAFB65048}"/>
                    </a:ext>
                  </a:extLst>
                </p:cNvPr>
                <p:cNvSpPr/>
                <p:nvPr/>
              </p:nvSpPr>
              <p:spPr>
                <a:xfrm rot="10800000">
                  <a:off x="9568867" y="2872695"/>
                  <a:ext cx="31031" cy="31031"/>
                </a:xfrm>
                <a:custGeom>
                  <a:avLst/>
                  <a:gdLst>
                    <a:gd name="connsiteX0" fmla="*/ 0 w 37161"/>
                    <a:gd name="connsiteY0" fmla="*/ 0 h 37161"/>
                    <a:gd name="connsiteX1" fmla="*/ 37162 w 37161"/>
                    <a:gd name="connsiteY1" fmla="*/ 0 h 37161"/>
                    <a:gd name="connsiteX2" fmla="*/ 37162 w 37161"/>
                    <a:gd name="connsiteY2" fmla="*/ 37162 h 37161"/>
                    <a:gd name="connsiteX3" fmla="*/ 0 w 37161"/>
                    <a:gd name="connsiteY3" fmla="*/ 37162 h 37161"/>
                  </a:gdLst>
                  <a:ahLst/>
                  <a:cxnLst>
                    <a:cxn ang="0">
                      <a:pos x="connsiteX0" y="connsiteY0"/>
                    </a:cxn>
                    <a:cxn ang="0">
                      <a:pos x="connsiteX1" y="connsiteY1"/>
                    </a:cxn>
                    <a:cxn ang="0">
                      <a:pos x="connsiteX2" y="connsiteY2"/>
                    </a:cxn>
                    <a:cxn ang="0">
                      <a:pos x="connsiteX3" y="connsiteY3"/>
                    </a:cxn>
                  </a:cxnLst>
                  <a:rect l="l" t="t" r="r" b="b"/>
                  <a:pathLst>
                    <a:path w="37161" h="37161">
                      <a:moveTo>
                        <a:pt x="0" y="0"/>
                      </a:moveTo>
                      <a:lnTo>
                        <a:pt x="37162" y="0"/>
                      </a:lnTo>
                      <a:lnTo>
                        <a:pt x="37162" y="37162"/>
                      </a:lnTo>
                      <a:lnTo>
                        <a:pt x="0" y="37162"/>
                      </a:lnTo>
                      <a:close/>
                    </a:path>
                  </a:pathLst>
                </a:custGeom>
                <a:solidFill>
                  <a:srgbClr val="41728A"/>
                </a:solidFill>
                <a:ln w="11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grpSp>
          <p:nvGrpSpPr>
            <p:cNvPr id="34" name="Group 33">
              <a:extLst>
                <a:ext uri="{FF2B5EF4-FFF2-40B4-BE49-F238E27FC236}">
                  <a16:creationId xmlns:a16="http://schemas.microsoft.com/office/drawing/2014/main" id="{AD49CE2F-F39C-4A13-2B75-32B650D8BAB4}"/>
                </a:ext>
              </a:extLst>
            </p:cNvPr>
            <p:cNvGrpSpPr/>
            <p:nvPr/>
          </p:nvGrpSpPr>
          <p:grpSpPr>
            <a:xfrm>
              <a:off x="8474368" y="1469529"/>
              <a:ext cx="430375" cy="438959"/>
              <a:chOff x="8414831" y="1480066"/>
              <a:chExt cx="430375" cy="438959"/>
            </a:xfrm>
          </p:grpSpPr>
          <p:sp>
            <p:nvSpPr>
              <p:cNvPr id="244" name="TextBox 243">
                <a:extLst>
                  <a:ext uri="{FF2B5EF4-FFF2-40B4-BE49-F238E27FC236}">
                    <a16:creationId xmlns:a16="http://schemas.microsoft.com/office/drawing/2014/main" id="{078FB66C-8C03-6F02-D140-A6FA4A58212D}"/>
                  </a:ext>
                </a:extLst>
              </p:cNvPr>
              <p:cNvSpPr txBox="1"/>
              <p:nvPr/>
            </p:nvSpPr>
            <p:spPr>
              <a:xfrm>
                <a:off x="8414831" y="1819262"/>
                <a:ext cx="430375" cy="99763"/>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Text"/>
                    <a:sym typeface="Helvetica Neue"/>
                  </a:rPr>
                  <a:t>DN Agent</a:t>
                </a:r>
                <a:endParaRPr kumimoji="0" lang="en-IN" sz="900" b="0" i="0" u="none" strike="noStrike" kern="0" cap="none" spc="0" normalizeH="0" baseline="30000" noProof="0">
                  <a:ln>
                    <a:noFill/>
                  </a:ln>
                  <a:solidFill>
                    <a:srgbClr val="525252"/>
                  </a:solidFill>
                  <a:effectLst/>
                  <a:uLnTx/>
                  <a:uFillTx/>
                  <a:latin typeface="IntelOne Text"/>
                  <a:sym typeface="Helvetica Neue"/>
                </a:endParaRPr>
              </a:p>
            </p:txBody>
          </p:sp>
          <p:sp>
            <p:nvSpPr>
              <p:cNvPr id="245" name="TextBox 244">
                <a:extLst>
                  <a:ext uri="{FF2B5EF4-FFF2-40B4-BE49-F238E27FC236}">
                    <a16:creationId xmlns:a16="http://schemas.microsoft.com/office/drawing/2014/main" id="{26E79FCB-7D1C-DE71-D661-E1426BDF4BE0}"/>
                  </a:ext>
                </a:extLst>
              </p:cNvPr>
              <p:cNvSpPr txBox="1"/>
              <p:nvPr/>
            </p:nvSpPr>
            <p:spPr>
              <a:xfrm>
                <a:off x="8496496" y="1480066"/>
                <a:ext cx="267044" cy="99763"/>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a:ln>
                      <a:noFill/>
                    </a:ln>
                    <a:solidFill>
                      <a:srgbClr val="525252"/>
                    </a:solidFill>
                    <a:effectLst/>
                    <a:uLnTx/>
                    <a:uFillTx/>
                    <a:latin typeface="IntelOne Text"/>
                    <a:sym typeface="Helvetica Neue"/>
                  </a:rPr>
                  <a:t>ATM</a:t>
                </a:r>
                <a:endParaRPr kumimoji="0" lang="en-IN" sz="900" b="0" i="0" u="none" strike="noStrike" kern="0" cap="none" spc="0" normalizeH="0" baseline="30000" noProof="0">
                  <a:ln>
                    <a:noFill/>
                  </a:ln>
                  <a:solidFill>
                    <a:srgbClr val="525252"/>
                  </a:solidFill>
                  <a:effectLst/>
                  <a:uLnTx/>
                  <a:uFillTx/>
                  <a:latin typeface="IntelOne Text"/>
                  <a:sym typeface="Helvetica Neue"/>
                </a:endParaRPr>
              </a:p>
            </p:txBody>
          </p:sp>
          <p:grpSp>
            <p:nvGrpSpPr>
              <p:cNvPr id="246" name="Group 245">
                <a:extLst>
                  <a:ext uri="{FF2B5EF4-FFF2-40B4-BE49-F238E27FC236}">
                    <a16:creationId xmlns:a16="http://schemas.microsoft.com/office/drawing/2014/main" id="{AA39EBC9-40E4-698F-5F11-A54D59C17B5A}"/>
                  </a:ext>
                </a:extLst>
              </p:cNvPr>
              <p:cNvGrpSpPr/>
              <p:nvPr/>
            </p:nvGrpSpPr>
            <p:grpSpPr>
              <a:xfrm>
                <a:off x="8514250" y="1591224"/>
                <a:ext cx="231537" cy="230454"/>
                <a:chOff x="1352512" y="2518691"/>
                <a:chExt cx="580828" cy="578112"/>
              </a:xfrm>
            </p:grpSpPr>
            <p:sp>
              <p:nvSpPr>
                <p:cNvPr id="247" name="Freeform: Shape 246">
                  <a:extLst>
                    <a:ext uri="{FF2B5EF4-FFF2-40B4-BE49-F238E27FC236}">
                      <a16:creationId xmlns:a16="http://schemas.microsoft.com/office/drawing/2014/main" id="{244E07DA-9EA6-2230-6300-A97CA98EB347}"/>
                    </a:ext>
                  </a:extLst>
                </p:cNvPr>
                <p:cNvSpPr/>
                <p:nvPr/>
              </p:nvSpPr>
              <p:spPr>
                <a:xfrm>
                  <a:off x="1352512" y="2535821"/>
                  <a:ext cx="246773" cy="334635"/>
                </a:xfrm>
                <a:custGeom>
                  <a:avLst/>
                  <a:gdLst>
                    <a:gd name="connsiteX0" fmla="*/ 25220 w 246773"/>
                    <a:gd name="connsiteY0" fmla="*/ 210412 h 334635"/>
                    <a:gd name="connsiteX1" fmla="*/ 113520 w 246773"/>
                    <a:gd name="connsiteY1" fmla="*/ 309494 h 334635"/>
                    <a:gd name="connsiteX2" fmla="*/ 119867 w 246773"/>
                    <a:gd name="connsiteY2" fmla="*/ 309784 h 334635"/>
                    <a:gd name="connsiteX3" fmla="*/ 200635 w 246773"/>
                    <a:gd name="connsiteY3" fmla="*/ 309784 h 334635"/>
                    <a:gd name="connsiteX4" fmla="*/ 200635 w 246773"/>
                    <a:gd name="connsiteY4" fmla="*/ 334636 h 334635"/>
                    <a:gd name="connsiteX5" fmla="*/ 119286 w 246773"/>
                    <a:gd name="connsiteY5" fmla="*/ 334636 h 334635"/>
                    <a:gd name="connsiteX6" fmla="*/ 112067 w 246773"/>
                    <a:gd name="connsiteY6" fmla="*/ 334312 h 334635"/>
                    <a:gd name="connsiteX7" fmla="*/ 0 w 246773"/>
                    <a:gd name="connsiteY7" fmla="*/ 210423 h 334635"/>
                    <a:gd name="connsiteX8" fmla="*/ 126281 w 246773"/>
                    <a:gd name="connsiteY8" fmla="*/ 86187 h 334635"/>
                    <a:gd name="connsiteX9" fmla="*/ 142986 w 246773"/>
                    <a:gd name="connsiteY9" fmla="*/ 87271 h 334635"/>
                    <a:gd name="connsiteX10" fmla="*/ 190991 w 246773"/>
                    <a:gd name="connsiteY10" fmla="*/ 27019 h 334635"/>
                    <a:gd name="connsiteX11" fmla="*/ 238929 w 246773"/>
                    <a:gd name="connsiteY11" fmla="*/ 0 h 334635"/>
                    <a:gd name="connsiteX12" fmla="*/ 246773 w 246773"/>
                    <a:gd name="connsiteY12" fmla="*/ 23622 h 334635"/>
                    <a:gd name="connsiteX13" fmla="*/ 206848 w 246773"/>
                    <a:gd name="connsiteY13" fmla="*/ 46329 h 334635"/>
                    <a:gd name="connsiteX14" fmla="*/ 162262 w 246773"/>
                    <a:gd name="connsiteY14" fmla="*/ 105832 h 334635"/>
                    <a:gd name="connsiteX15" fmla="*/ 158284 w 246773"/>
                    <a:gd name="connsiteY15" fmla="*/ 115609 h 334635"/>
                    <a:gd name="connsiteX16" fmla="*/ 147847 w 246773"/>
                    <a:gd name="connsiteY16" fmla="*/ 113329 h 334635"/>
                    <a:gd name="connsiteX17" fmla="*/ 126281 w 246773"/>
                    <a:gd name="connsiteY17" fmla="*/ 111028 h 334635"/>
                    <a:gd name="connsiteX18" fmla="*/ 25220 w 246773"/>
                    <a:gd name="connsiteY18" fmla="*/ 210412 h 3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6773" h="334635">
                      <a:moveTo>
                        <a:pt x="25220" y="210412"/>
                      </a:moveTo>
                      <a:cubicBezTo>
                        <a:pt x="25220" y="265221"/>
                        <a:pt x="61526" y="306276"/>
                        <a:pt x="113520" y="309494"/>
                      </a:cubicBezTo>
                      <a:lnTo>
                        <a:pt x="119867" y="309784"/>
                      </a:lnTo>
                      <a:lnTo>
                        <a:pt x="200635" y="309784"/>
                      </a:lnTo>
                      <a:lnTo>
                        <a:pt x="200635" y="334636"/>
                      </a:lnTo>
                      <a:lnTo>
                        <a:pt x="119286" y="334636"/>
                      </a:lnTo>
                      <a:lnTo>
                        <a:pt x="112067" y="334312"/>
                      </a:lnTo>
                      <a:cubicBezTo>
                        <a:pt x="47133" y="330356"/>
                        <a:pt x="0" y="278262"/>
                        <a:pt x="0" y="210423"/>
                      </a:cubicBezTo>
                      <a:cubicBezTo>
                        <a:pt x="0" y="142584"/>
                        <a:pt x="56654" y="86187"/>
                        <a:pt x="126281" y="86187"/>
                      </a:cubicBezTo>
                      <a:cubicBezTo>
                        <a:pt x="131879" y="86187"/>
                        <a:pt x="137478" y="86556"/>
                        <a:pt x="142986" y="87271"/>
                      </a:cubicBezTo>
                      <a:cubicBezTo>
                        <a:pt x="154172" y="63939"/>
                        <a:pt x="170621" y="43244"/>
                        <a:pt x="190991" y="27019"/>
                      </a:cubicBezTo>
                      <a:cubicBezTo>
                        <a:pt x="205451" y="15499"/>
                        <a:pt x="221676" y="6403"/>
                        <a:pt x="238929" y="0"/>
                      </a:cubicBezTo>
                      <a:lnTo>
                        <a:pt x="246773" y="23622"/>
                      </a:lnTo>
                      <a:cubicBezTo>
                        <a:pt x="232414" y="29064"/>
                        <a:pt x="218905" y="36707"/>
                        <a:pt x="206848" y="46329"/>
                      </a:cubicBezTo>
                      <a:cubicBezTo>
                        <a:pt x="187136" y="62028"/>
                        <a:pt x="171727" y="82600"/>
                        <a:pt x="162262" y="105832"/>
                      </a:cubicBezTo>
                      <a:lnTo>
                        <a:pt x="158284" y="115609"/>
                      </a:lnTo>
                      <a:lnTo>
                        <a:pt x="147847" y="113329"/>
                      </a:lnTo>
                      <a:cubicBezTo>
                        <a:pt x="140841" y="111787"/>
                        <a:pt x="133589" y="111028"/>
                        <a:pt x="126281" y="111028"/>
                      </a:cubicBezTo>
                      <a:cubicBezTo>
                        <a:pt x="70555" y="111028"/>
                        <a:pt x="25220" y="155613"/>
                        <a:pt x="25220" y="210412"/>
                      </a:cubicBezTo>
                      <a:close/>
                    </a:path>
                  </a:pathLst>
                </a:custGeom>
                <a:solidFill>
                  <a:srgbClr val="FFFFFF">
                    <a:lumMod val="85000"/>
                  </a:srgbClr>
                </a:solidFill>
                <a:ln w="19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48" name="Freeform: Shape 247">
                  <a:extLst>
                    <a:ext uri="{FF2B5EF4-FFF2-40B4-BE49-F238E27FC236}">
                      <a16:creationId xmlns:a16="http://schemas.microsoft.com/office/drawing/2014/main" id="{29E4305C-7729-DAB7-96BC-683C02560534}"/>
                    </a:ext>
                  </a:extLst>
                </p:cNvPr>
                <p:cNvSpPr/>
                <p:nvPr/>
              </p:nvSpPr>
              <p:spPr>
                <a:xfrm>
                  <a:off x="1700725" y="2535664"/>
                  <a:ext cx="232615" cy="334803"/>
                </a:xfrm>
                <a:custGeom>
                  <a:avLst/>
                  <a:gdLst>
                    <a:gd name="connsiteX0" fmla="*/ 232616 w 232615"/>
                    <a:gd name="connsiteY0" fmla="*/ 199047 h 334803"/>
                    <a:gd name="connsiteX1" fmla="*/ 193807 w 232615"/>
                    <a:gd name="connsiteY1" fmla="*/ 293425 h 334803"/>
                    <a:gd name="connsiteX2" fmla="*/ 99597 w 232615"/>
                    <a:gd name="connsiteY2" fmla="*/ 334714 h 334803"/>
                    <a:gd name="connsiteX3" fmla="*/ 98613 w 232615"/>
                    <a:gd name="connsiteY3" fmla="*/ 334714 h 334803"/>
                    <a:gd name="connsiteX4" fmla="*/ 89596 w 232615"/>
                    <a:gd name="connsiteY4" fmla="*/ 334804 h 334803"/>
                    <a:gd name="connsiteX5" fmla="*/ 89596 w 232615"/>
                    <a:gd name="connsiteY5" fmla="*/ 334781 h 334803"/>
                    <a:gd name="connsiteX6" fmla="*/ 25589 w 232615"/>
                    <a:gd name="connsiteY6" fmla="*/ 334781 h 334803"/>
                    <a:gd name="connsiteX7" fmla="*/ 25589 w 232615"/>
                    <a:gd name="connsiteY7" fmla="*/ 309930 h 334803"/>
                    <a:gd name="connsiteX8" fmla="*/ 89484 w 232615"/>
                    <a:gd name="connsiteY8" fmla="*/ 309930 h 334803"/>
                    <a:gd name="connsiteX9" fmla="*/ 98915 w 232615"/>
                    <a:gd name="connsiteY9" fmla="*/ 309851 h 334803"/>
                    <a:gd name="connsiteX10" fmla="*/ 175694 w 232615"/>
                    <a:gd name="connsiteY10" fmla="*/ 276105 h 334803"/>
                    <a:gd name="connsiteX11" fmla="*/ 207395 w 232615"/>
                    <a:gd name="connsiteY11" fmla="*/ 199025 h 334803"/>
                    <a:gd name="connsiteX12" fmla="*/ 94613 w 232615"/>
                    <a:gd name="connsiteY12" fmla="*/ 88098 h 334803"/>
                    <a:gd name="connsiteX13" fmla="*/ 89394 w 232615"/>
                    <a:gd name="connsiteY13" fmla="*/ 88232 h 334803"/>
                    <a:gd name="connsiteX14" fmla="*/ 82053 w 232615"/>
                    <a:gd name="connsiteY14" fmla="*/ 88567 h 334803"/>
                    <a:gd name="connsiteX15" fmla="*/ 78142 w 232615"/>
                    <a:gd name="connsiteY15" fmla="*/ 82444 h 334803"/>
                    <a:gd name="connsiteX16" fmla="*/ 31702 w 232615"/>
                    <a:gd name="connsiteY16" fmla="*/ 36573 h 334803"/>
                    <a:gd name="connsiteX17" fmla="*/ 0 w 232615"/>
                    <a:gd name="connsiteY17" fmla="*/ 21678 h 334803"/>
                    <a:gd name="connsiteX18" fmla="*/ 13342 w 232615"/>
                    <a:gd name="connsiteY18" fmla="*/ 0 h 334803"/>
                    <a:gd name="connsiteX19" fmla="*/ 45189 w 232615"/>
                    <a:gd name="connsiteY19" fmla="*/ 15588 h 334803"/>
                    <a:gd name="connsiteX20" fmla="*/ 95507 w 232615"/>
                    <a:gd name="connsiteY20" fmla="*/ 63269 h 334803"/>
                    <a:gd name="connsiteX21" fmla="*/ 232616 w 232615"/>
                    <a:gd name="connsiteY21" fmla="*/ 199047 h 33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2615" h="334803">
                      <a:moveTo>
                        <a:pt x="232616" y="199047"/>
                      </a:moveTo>
                      <a:cubicBezTo>
                        <a:pt x="232616" y="234447"/>
                        <a:pt x="218826" y="267970"/>
                        <a:pt x="193807" y="293425"/>
                      </a:cubicBezTo>
                      <a:cubicBezTo>
                        <a:pt x="168866" y="318780"/>
                        <a:pt x="135421" y="333440"/>
                        <a:pt x="99597" y="334714"/>
                      </a:cubicBezTo>
                      <a:lnTo>
                        <a:pt x="98613" y="334714"/>
                      </a:lnTo>
                      <a:lnTo>
                        <a:pt x="89596" y="334804"/>
                      </a:lnTo>
                      <a:lnTo>
                        <a:pt x="89596" y="334781"/>
                      </a:lnTo>
                      <a:lnTo>
                        <a:pt x="25589" y="334781"/>
                      </a:lnTo>
                      <a:lnTo>
                        <a:pt x="25589" y="309930"/>
                      </a:lnTo>
                      <a:lnTo>
                        <a:pt x="89484" y="309930"/>
                      </a:lnTo>
                      <a:lnTo>
                        <a:pt x="98915" y="309851"/>
                      </a:lnTo>
                      <a:cubicBezTo>
                        <a:pt x="128102" y="308756"/>
                        <a:pt x="155368" y="296789"/>
                        <a:pt x="175694" y="276105"/>
                      </a:cubicBezTo>
                      <a:cubicBezTo>
                        <a:pt x="196131" y="255310"/>
                        <a:pt x="207395" y="227944"/>
                        <a:pt x="207395" y="199025"/>
                      </a:cubicBezTo>
                      <a:cubicBezTo>
                        <a:pt x="207395" y="137857"/>
                        <a:pt x="156798" y="88098"/>
                        <a:pt x="94613" y="88098"/>
                      </a:cubicBezTo>
                      <a:cubicBezTo>
                        <a:pt x="92948" y="88098"/>
                        <a:pt x="91238" y="88143"/>
                        <a:pt x="89394" y="88232"/>
                      </a:cubicBezTo>
                      <a:lnTo>
                        <a:pt x="82053" y="88567"/>
                      </a:lnTo>
                      <a:lnTo>
                        <a:pt x="78142" y="82444"/>
                      </a:lnTo>
                      <a:cubicBezTo>
                        <a:pt x="66398" y="64073"/>
                        <a:pt x="50340" y="48217"/>
                        <a:pt x="31702" y="36573"/>
                      </a:cubicBezTo>
                      <a:cubicBezTo>
                        <a:pt x="21723" y="30349"/>
                        <a:pt x="11085" y="25354"/>
                        <a:pt x="0" y="21678"/>
                      </a:cubicBezTo>
                      <a:lnTo>
                        <a:pt x="13342" y="0"/>
                      </a:lnTo>
                      <a:cubicBezTo>
                        <a:pt x="24416" y="4079"/>
                        <a:pt x="35087" y="9297"/>
                        <a:pt x="45189" y="15588"/>
                      </a:cubicBezTo>
                      <a:cubicBezTo>
                        <a:pt x="64956" y="27936"/>
                        <a:pt x="82221" y="44317"/>
                        <a:pt x="95507" y="63269"/>
                      </a:cubicBezTo>
                      <a:cubicBezTo>
                        <a:pt x="171190" y="63749"/>
                        <a:pt x="232616" y="124470"/>
                        <a:pt x="232616" y="199047"/>
                      </a:cubicBezTo>
                      <a:close/>
                    </a:path>
                  </a:pathLst>
                </a:custGeom>
                <a:solidFill>
                  <a:srgbClr val="FFFFFF">
                    <a:lumMod val="85000"/>
                  </a:srgbClr>
                </a:solidFill>
                <a:ln w="197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nvGrpSpPr>
                <p:cNvPr id="249" name="Graphic 259">
                  <a:extLst>
                    <a:ext uri="{FF2B5EF4-FFF2-40B4-BE49-F238E27FC236}">
                      <a16:creationId xmlns:a16="http://schemas.microsoft.com/office/drawing/2014/main" id="{CAC4C110-D3F2-3E1B-0884-A6E0F8D0A19E}"/>
                    </a:ext>
                  </a:extLst>
                </p:cNvPr>
                <p:cNvGrpSpPr/>
                <p:nvPr/>
              </p:nvGrpSpPr>
              <p:grpSpPr>
                <a:xfrm>
                  <a:off x="1573908" y="2797042"/>
                  <a:ext cx="128292" cy="299761"/>
                  <a:chOff x="1573908" y="2797042"/>
                  <a:chExt cx="128292" cy="299761"/>
                </a:xfrm>
                <a:solidFill>
                  <a:srgbClr val="41728A"/>
                </a:solidFill>
              </p:grpSpPr>
              <p:sp>
                <p:nvSpPr>
                  <p:cNvPr id="259" name="Freeform: Shape 258">
                    <a:extLst>
                      <a:ext uri="{FF2B5EF4-FFF2-40B4-BE49-F238E27FC236}">
                        <a16:creationId xmlns:a16="http://schemas.microsoft.com/office/drawing/2014/main" id="{7DF9DE85-CA33-5AF9-7F30-0999923FA982}"/>
                      </a:ext>
                    </a:extLst>
                  </p:cNvPr>
                  <p:cNvSpPr/>
                  <p:nvPr/>
                </p:nvSpPr>
                <p:spPr>
                  <a:xfrm>
                    <a:off x="1573908" y="2797042"/>
                    <a:ext cx="128292" cy="65883"/>
                  </a:xfrm>
                  <a:custGeom>
                    <a:avLst/>
                    <a:gdLst>
                      <a:gd name="connsiteX0" fmla="*/ 8738 w 128292"/>
                      <a:gd name="connsiteY0" fmla="*/ 65884 h 65883"/>
                      <a:gd name="connsiteX1" fmla="*/ 0 w 128292"/>
                      <a:gd name="connsiteY1" fmla="*/ 55715 h 65883"/>
                      <a:gd name="connsiteX2" fmla="*/ 64878 w 128292"/>
                      <a:gd name="connsiteY2" fmla="*/ 0 h 65883"/>
                      <a:gd name="connsiteX3" fmla="*/ 128292 w 128292"/>
                      <a:gd name="connsiteY3" fmla="*/ 54452 h 65883"/>
                      <a:gd name="connsiteX4" fmla="*/ 119565 w 128292"/>
                      <a:gd name="connsiteY4" fmla="*/ 64632 h 65883"/>
                      <a:gd name="connsiteX5" fmla="*/ 64878 w 128292"/>
                      <a:gd name="connsiteY5" fmla="*/ 17678 h 65883"/>
                      <a:gd name="connsiteX6" fmla="*/ 8738 w 128292"/>
                      <a:gd name="connsiteY6" fmla="*/ 65884 h 6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292" h="65883">
                        <a:moveTo>
                          <a:pt x="8738" y="65884"/>
                        </a:moveTo>
                        <a:lnTo>
                          <a:pt x="0" y="55715"/>
                        </a:lnTo>
                        <a:lnTo>
                          <a:pt x="64878" y="0"/>
                        </a:lnTo>
                        <a:lnTo>
                          <a:pt x="128292" y="54452"/>
                        </a:lnTo>
                        <a:lnTo>
                          <a:pt x="119565" y="64632"/>
                        </a:lnTo>
                        <a:lnTo>
                          <a:pt x="64878" y="17678"/>
                        </a:lnTo>
                        <a:lnTo>
                          <a:pt x="8738" y="65884"/>
                        </a:lnTo>
                        <a:close/>
                      </a:path>
                    </a:pathLst>
                  </a:custGeom>
                  <a:grpFill/>
                  <a:ln w="1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60" name="Freeform: Shape 259">
                    <a:extLst>
                      <a:ext uri="{FF2B5EF4-FFF2-40B4-BE49-F238E27FC236}">
                        <a16:creationId xmlns:a16="http://schemas.microsoft.com/office/drawing/2014/main" id="{50571F4F-B089-C910-5DB3-B2001FA113E6}"/>
                      </a:ext>
                    </a:extLst>
                  </p:cNvPr>
                  <p:cNvSpPr/>
                  <p:nvPr/>
                </p:nvSpPr>
                <p:spPr>
                  <a:xfrm>
                    <a:off x="1632082" y="2805881"/>
                    <a:ext cx="13409" cy="290922"/>
                  </a:xfrm>
                  <a:custGeom>
                    <a:avLst/>
                    <a:gdLst>
                      <a:gd name="connsiteX0" fmla="*/ 0 w 13409"/>
                      <a:gd name="connsiteY0" fmla="*/ 0 h 290922"/>
                      <a:gd name="connsiteX1" fmla="*/ 13409 w 13409"/>
                      <a:gd name="connsiteY1" fmla="*/ 0 h 290922"/>
                      <a:gd name="connsiteX2" fmla="*/ 13409 w 13409"/>
                      <a:gd name="connsiteY2" fmla="*/ 290922 h 290922"/>
                      <a:gd name="connsiteX3" fmla="*/ 0 w 13409"/>
                      <a:gd name="connsiteY3" fmla="*/ 290922 h 290922"/>
                    </a:gdLst>
                    <a:ahLst/>
                    <a:cxnLst>
                      <a:cxn ang="0">
                        <a:pos x="connsiteX0" y="connsiteY0"/>
                      </a:cxn>
                      <a:cxn ang="0">
                        <a:pos x="connsiteX1" y="connsiteY1"/>
                      </a:cxn>
                      <a:cxn ang="0">
                        <a:pos x="connsiteX2" y="connsiteY2"/>
                      </a:cxn>
                      <a:cxn ang="0">
                        <a:pos x="connsiteX3" y="connsiteY3"/>
                      </a:cxn>
                    </a:cxnLst>
                    <a:rect l="l" t="t" r="r" b="b"/>
                    <a:pathLst>
                      <a:path w="13409" h="290922">
                        <a:moveTo>
                          <a:pt x="0" y="0"/>
                        </a:moveTo>
                        <a:lnTo>
                          <a:pt x="13409" y="0"/>
                        </a:lnTo>
                        <a:lnTo>
                          <a:pt x="13409" y="290922"/>
                        </a:lnTo>
                        <a:lnTo>
                          <a:pt x="0" y="290922"/>
                        </a:lnTo>
                        <a:close/>
                      </a:path>
                    </a:pathLst>
                  </a:custGeom>
                  <a:grpFill/>
                  <a:ln w="1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nvGrpSpPr>
                <p:cNvPr id="250" name="Graphic 259">
                  <a:extLst>
                    <a:ext uri="{FF2B5EF4-FFF2-40B4-BE49-F238E27FC236}">
                      <a16:creationId xmlns:a16="http://schemas.microsoft.com/office/drawing/2014/main" id="{C09462AF-C322-9449-E5E5-D16523B1FB8E}"/>
                    </a:ext>
                  </a:extLst>
                </p:cNvPr>
                <p:cNvGrpSpPr/>
                <p:nvPr/>
              </p:nvGrpSpPr>
              <p:grpSpPr>
                <a:xfrm>
                  <a:off x="1669281" y="2894012"/>
                  <a:ext cx="128303" cy="157534"/>
                  <a:chOff x="1669281" y="2894012"/>
                  <a:chExt cx="128303" cy="157534"/>
                </a:xfrm>
                <a:solidFill>
                  <a:srgbClr val="41728A"/>
                </a:solidFill>
              </p:grpSpPr>
              <p:sp>
                <p:nvSpPr>
                  <p:cNvPr id="257" name="Freeform: Shape 256">
                    <a:extLst>
                      <a:ext uri="{FF2B5EF4-FFF2-40B4-BE49-F238E27FC236}">
                        <a16:creationId xmlns:a16="http://schemas.microsoft.com/office/drawing/2014/main" id="{12C945ED-AE14-250B-3939-EF4EC0010FCF}"/>
                      </a:ext>
                    </a:extLst>
                  </p:cNvPr>
                  <p:cNvSpPr/>
                  <p:nvPr/>
                </p:nvSpPr>
                <p:spPr>
                  <a:xfrm>
                    <a:off x="1669281" y="2894012"/>
                    <a:ext cx="128303" cy="65894"/>
                  </a:xfrm>
                  <a:custGeom>
                    <a:avLst/>
                    <a:gdLst>
                      <a:gd name="connsiteX0" fmla="*/ 8738 w 128303"/>
                      <a:gd name="connsiteY0" fmla="*/ 65895 h 65894"/>
                      <a:gd name="connsiteX1" fmla="*/ 0 w 128303"/>
                      <a:gd name="connsiteY1" fmla="*/ 55715 h 65894"/>
                      <a:gd name="connsiteX2" fmla="*/ 64889 w 128303"/>
                      <a:gd name="connsiteY2" fmla="*/ 0 h 65894"/>
                      <a:gd name="connsiteX3" fmla="*/ 128303 w 128303"/>
                      <a:gd name="connsiteY3" fmla="*/ 54463 h 65894"/>
                      <a:gd name="connsiteX4" fmla="*/ 119565 w 128303"/>
                      <a:gd name="connsiteY4" fmla="*/ 64632 h 65894"/>
                      <a:gd name="connsiteX5" fmla="*/ 64889 w 128303"/>
                      <a:gd name="connsiteY5" fmla="*/ 17678 h 65894"/>
                      <a:gd name="connsiteX6" fmla="*/ 8738 w 128303"/>
                      <a:gd name="connsiteY6" fmla="*/ 65895 h 65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303" h="65894">
                        <a:moveTo>
                          <a:pt x="8738" y="65895"/>
                        </a:moveTo>
                        <a:lnTo>
                          <a:pt x="0" y="55715"/>
                        </a:lnTo>
                        <a:lnTo>
                          <a:pt x="64889" y="0"/>
                        </a:lnTo>
                        <a:lnTo>
                          <a:pt x="128303" y="54463"/>
                        </a:lnTo>
                        <a:lnTo>
                          <a:pt x="119565" y="64632"/>
                        </a:lnTo>
                        <a:lnTo>
                          <a:pt x="64889" y="17678"/>
                        </a:lnTo>
                        <a:lnTo>
                          <a:pt x="8738" y="65895"/>
                        </a:lnTo>
                        <a:close/>
                      </a:path>
                    </a:pathLst>
                  </a:custGeom>
                  <a:grpFill/>
                  <a:ln w="1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58" name="Freeform: Shape 257">
                    <a:extLst>
                      <a:ext uri="{FF2B5EF4-FFF2-40B4-BE49-F238E27FC236}">
                        <a16:creationId xmlns:a16="http://schemas.microsoft.com/office/drawing/2014/main" id="{CF4C2FDA-593E-8738-59FF-63F90B09BBCA}"/>
                      </a:ext>
                    </a:extLst>
                  </p:cNvPr>
                  <p:cNvSpPr/>
                  <p:nvPr/>
                </p:nvSpPr>
                <p:spPr>
                  <a:xfrm>
                    <a:off x="1727465" y="2902851"/>
                    <a:ext cx="13409" cy="148696"/>
                  </a:xfrm>
                  <a:custGeom>
                    <a:avLst/>
                    <a:gdLst>
                      <a:gd name="connsiteX0" fmla="*/ 0 w 13409"/>
                      <a:gd name="connsiteY0" fmla="*/ 0 h 148696"/>
                      <a:gd name="connsiteX1" fmla="*/ 13409 w 13409"/>
                      <a:gd name="connsiteY1" fmla="*/ 0 h 148696"/>
                      <a:gd name="connsiteX2" fmla="*/ 13409 w 13409"/>
                      <a:gd name="connsiteY2" fmla="*/ 148696 h 148696"/>
                      <a:gd name="connsiteX3" fmla="*/ 0 w 13409"/>
                      <a:gd name="connsiteY3" fmla="*/ 148696 h 148696"/>
                    </a:gdLst>
                    <a:ahLst/>
                    <a:cxnLst>
                      <a:cxn ang="0">
                        <a:pos x="connsiteX0" y="connsiteY0"/>
                      </a:cxn>
                      <a:cxn ang="0">
                        <a:pos x="connsiteX1" y="connsiteY1"/>
                      </a:cxn>
                      <a:cxn ang="0">
                        <a:pos x="connsiteX2" y="connsiteY2"/>
                      </a:cxn>
                      <a:cxn ang="0">
                        <a:pos x="connsiteX3" y="connsiteY3"/>
                      </a:cxn>
                    </a:cxnLst>
                    <a:rect l="l" t="t" r="r" b="b"/>
                    <a:pathLst>
                      <a:path w="13409" h="148696">
                        <a:moveTo>
                          <a:pt x="0" y="0"/>
                        </a:moveTo>
                        <a:lnTo>
                          <a:pt x="13409" y="0"/>
                        </a:lnTo>
                        <a:lnTo>
                          <a:pt x="13409" y="148696"/>
                        </a:lnTo>
                        <a:lnTo>
                          <a:pt x="0" y="148696"/>
                        </a:lnTo>
                        <a:close/>
                      </a:path>
                    </a:pathLst>
                  </a:custGeom>
                  <a:grpFill/>
                  <a:ln w="1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nvGrpSpPr>
                <p:cNvPr id="251" name="Graphic 259">
                  <a:extLst>
                    <a:ext uri="{FF2B5EF4-FFF2-40B4-BE49-F238E27FC236}">
                      <a16:creationId xmlns:a16="http://schemas.microsoft.com/office/drawing/2014/main" id="{A5CE6BD0-8464-2ED3-CC47-18999E79EB76}"/>
                    </a:ext>
                  </a:extLst>
                </p:cNvPr>
                <p:cNvGrpSpPr/>
                <p:nvPr/>
              </p:nvGrpSpPr>
              <p:grpSpPr>
                <a:xfrm>
                  <a:off x="1488268" y="2927144"/>
                  <a:ext cx="128292" cy="157523"/>
                  <a:chOff x="1488268" y="2927144"/>
                  <a:chExt cx="128292" cy="157523"/>
                </a:xfrm>
                <a:solidFill>
                  <a:srgbClr val="41728A"/>
                </a:solidFill>
              </p:grpSpPr>
              <p:sp>
                <p:nvSpPr>
                  <p:cNvPr id="255" name="Freeform: Shape 254">
                    <a:extLst>
                      <a:ext uri="{FF2B5EF4-FFF2-40B4-BE49-F238E27FC236}">
                        <a16:creationId xmlns:a16="http://schemas.microsoft.com/office/drawing/2014/main" id="{8B940F8B-939B-4A8F-51B2-A457ECF099BD}"/>
                      </a:ext>
                    </a:extLst>
                  </p:cNvPr>
                  <p:cNvSpPr/>
                  <p:nvPr/>
                </p:nvSpPr>
                <p:spPr>
                  <a:xfrm>
                    <a:off x="1488268" y="2927144"/>
                    <a:ext cx="128292" cy="65883"/>
                  </a:xfrm>
                  <a:custGeom>
                    <a:avLst/>
                    <a:gdLst>
                      <a:gd name="connsiteX0" fmla="*/ 8738 w 128292"/>
                      <a:gd name="connsiteY0" fmla="*/ 65884 h 65883"/>
                      <a:gd name="connsiteX1" fmla="*/ 0 w 128292"/>
                      <a:gd name="connsiteY1" fmla="*/ 55704 h 65883"/>
                      <a:gd name="connsiteX2" fmla="*/ 64878 w 128292"/>
                      <a:gd name="connsiteY2" fmla="*/ 0 h 65883"/>
                      <a:gd name="connsiteX3" fmla="*/ 128292 w 128292"/>
                      <a:gd name="connsiteY3" fmla="*/ 54452 h 65883"/>
                      <a:gd name="connsiteX4" fmla="*/ 119554 w 128292"/>
                      <a:gd name="connsiteY4" fmla="*/ 64621 h 65883"/>
                      <a:gd name="connsiteX5" fmla="*/ 64878 w 128292"/>
                      <a:gd name="connsiteY5" fmla="*/ 17667 h 65883"/>
                      <a:gd name="connsiteX6" fmla="*/ 8738 w 128292"/>
                      <a:gd name="connsiteY6" fmla="*/ 65884 h 6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292" h="65883">
                        <a:moveTo>
                          <a:pt x="8738" y="65884"/>
                        </a:moveTo>
                        <a:lnTo>
                          <a:pt x="0" y="55704"/>
                        </a:lnTo>
                        <a:lnTo>
                          <a:pt x="64878" y="0"/>
                        </a:lnTo>
                        <a:lnTo>
                          <a:pt x="128292" y="54452"/>
                        </a:lnTo>
                        <a:lnTo>
                          <a:pt x="119554" y="64621"/>
                        </a:lnTo>
                        <a:lnTo>
                          <a:pt x="64878" y="17667"/>
                        </a:lnTo>
                        <a:lnTo>
                          <a:pt x="8738" y="65884"/>
                        </a:lnTo>
                        <a:close/>
                      </a:path>
                    </a:pathLst>
                  </a:custGeom>
                  <a:grpFill/>
                  <a:ln w="1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56" name="Freeform: Shape 255">
                    <a:extLst>
                      <a:ext uri="{FF2B5EF4-FFF2-40B4-BE49-F238E27FC236}">
                        <a16:creationId xmlns:a16="http://schemas.microsoft.com/office/drawing/2014/main" id="{9CD96A59-8A2D-2386-3C7F-47F4373DEA7B}"/>
                      </a:ext>
                    </a:extLst>
                  </p:cNvPr>
                  <p:cNvSpPr/>
                  <p:nvPr/>
                </p:nvSpPr>
                <p:spPr>
                  <a:xfrm>
                    <a:off x="1546442" y="2935971"/>
                    <a:ext cx="13409" cy="148696"/>
                  </a:xfrm>
                  <a:custGeom>
                    <a:avLst/>
                    <a:gdLst>
                      <a:gd name="connsiteX0" fmla="*/ 0 w 13409"/>
                      <a:gd name="connsiteY0" fmla="*/ 0 h 148696"/>
                      <a:gd name="connsiteX1" fmla="*/ 13409 w 13409"/>
                      <a:gd name="connsiteY1" fmla="*/ 0 h 148696"/>
                      <a:gd name="connsiteX2" fmla="*/ 13409 w 13409"/>
                      <a:gd name="connsiteY2" fmla="*/ 148696 h 148696"/>
                      <a:gd name="connsiteX3" fmla="*/ 0 w 13409"/>
                      <a:gd name="connsiteY3" fmla="*/ 148696 h 148696"/>
                    </a:gdLst>
                    <a:ahLst/>
                    <a:cxnLst>
                      <a:cxn ang="0">
                        <a:pos x="connsiteX0" y="connsiteY0"/>
                      </a:cxn>
                      <a:cxn ang="0">
                        <a:pos x="connsiteX1" y="connsiteY1"/>
                      </a:cxn>
                      <a:cxn ang="0">
                        <a:pos x="connsiteX2" y="connsiteY2"/>
                      </a:cxn>
                      <a:cxn ang="0">
                        <a:pos x="connsiteX3" y="connsiteY3"/>
                      </a:cxn>
                    </a:cxnLst>
                    <a:rect l="l" t="t" r="r" b="b"/>
                    <a:pathLst>
                      <a:path w="13409" h="148696">
                        <a:moveTo>
                          <a:pt x="0" y="0"/>
                        </a:moveTo>
                        <a:lnTo>
                          <a:pt x="13409" y="0"/>
                        </a:lnTo>
                        <a:lnTo>
                          <a:pt x="13409" y="148696"/>
                        </a:lnTo>
                        <a:lnTo>
                          <a:pt x="0" y="148696"/>
                        </a:lnTo>
                        <a:close/>
                      </a:path>
                    </a:pathLst>
                  </a:custGeom>
                  <a:grpFill/>
                  <a:ln w="1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sp>
              <p:nvSpPr>
                <p:cNvPr id="252" name="Freeform: Shape 251">
                  <a:extLst>
                    <a:ext uri="{FF2B5EF4-FFF2-40B4-BE49-F238E27FC236}">
                      <a16:creationId xmlns:a16="http://schemas.microsoft.com/office/drawing/2014/main" id="{DB0377CE-A561-9687-1531-9E92AF178DF5}"/>
                    </a:ext>
                  </a:extLst>
                </p:cNvPr>
                <p:cNvSpPr/>
                <p:nvPr/>
              </p:nvSpPr>
              <p:spPr>
                <a:xfrm>
                  <a:off x="1634931" y="2518691"/>
                  <a:ext cx="37299" cy="37299"/>
                </a:xfrm>
                <a:custGeom>
                  <a:avLst/>
                  <a:gdLst>
                    <a:gd name="connsiteX0" fmla="*/ 0 w 37299"/>
                    <a:gd name="connsiteY0" fmla="*/ 0 h 37299"/>
                    <a:gd name="connsiteX1" fmla="*/ 37300 w 37299"/>
                    <a:gd name="connsiteY1" fmla="*/ 0 h 37299"/>
                    <a:gd name="connsiteX2" fmla="*/ 37300 w 37299"/>
                    <a:gd name="connsiteY2" fmla="*/ 37300 h 37299"/>
                    <a:gd name="connsiteX3" fmla="*/ 0 w 37299"/>
                    <a:gd name="connsiteY3" fmla="*/ 37300 h 37299"/>
                  </a:gdLst>
                  <a:ahLst/>
                  <a:cxnLst>
                    <a:cxn ang="0">
                      <a:pos x="connsiteX0" y="connsiteY0"/>
                    </a:cxn>
                    <a:cxn ang="0">
                      <a:pos x="connsiteX1" y="connsiteY1"/>
                    </a:cxn>
                    <a:cxn ang="0">
                      <a:pos x="connsiteX2" y="connsiteY2"/>
                    </a:cxn>
                    <a:cxn ang="0">
                      <a:pos x="connsiteX3" y="connsiteY3"/>
                    </a:cxn>
                  </a:cxnLst>
                  <a:rect l="l" t="t" r="r" b="b"/>
                  <a:pathLst>
                    <a:path w="37299" h="37299">
                      <a:moveTo>
                        <a:pt x="0" y="0"/>
                      </a:moveTo>
                      <a:lnTo>
                        <a:pt x="37300" y="0"/>
                      </a:lnTo>
                      <a:lnTo>
                        <a:pt x="37300" y="37300"/>
                      </a:lnTo>
                      <a:lnTo>
                        <a:pt x="0" y="37300"/>
                      </a:lnTo>
                      <a:close/>
                    </a:path>
                  </a:pathLst>
                </a:custGeom>
                <a:solidFill>
                  <a:srgbClr val="41728A"/>
                </a:solidFill>
                <a:ln w="1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53" name="Freeform: Shape 252">
                  <a:extLst>
                    <a:ext uri="{FF2B5EF4-FFF2-40B4-BE49-F238E27FC236}">
                      <a16:creationId xmlns:a16="http://schemas.microsoft.com/office/drawing/2014/main" id="{763B2883-EF2A-C11C-14D4-464726CA8388}"/>
                    </a:ext>
                  </a:extLst>
                </p:cNvPr>
                <p:cNvSpPr/>
                <p:nvPr/>
              </p:nvSpPr>
              <p:spPr>
                <a:xfrm>
                  <a:off x="1510840" y="2527060"/>
                  <a:ext cx="113653" cy="85449"/>
                </a:xfrm>
                <a:custGeom>
                  <a:avLst/>
                  <a:gdLst>
                    <a:gd name="connsiteX0" fmla="*/ 113654 w 113653"/>
                    <a:gd name="connsiteY0" fmla="*/ 0 h 85449"/>
                    <a:gd name="connsiteX1" fmla="*/ 113654 w 113653"/>
                    <a:gd name="connsiteY1" fmla="*/ 25220 h 85449"/>
                    <a:gd name="connsiteX2" fmla="*/ 48519 w 113653"/>
                    <a:gd name="connsiteY2" fmla="*/ 55089 h 85449"/>
                    <a:gd name="connsiteX3" fmla="*/ 19890 w 113653"/>
                    <a:gd name="connsiteY3" fmla="*/ 85450 h 85449"/>
                    <a:gd name="connsiteX4" fmla="*/ 0 w 113653"/>
                    <a:gd name="connsiteY4" fmla="*/ 70141 h 85449"/>
                    <a:gd name="connsiteX5" fmla="*/ 32662 w 113653"/>
                    <a:gd name="connsiteY5" fmla="*/ 35780 h 85449"/>
                    <a:gd name="connsiteX6" fmla="*/ 113654 w 113653"/>
                    <a:gd name="connsiteY6" fmla="*/ 0 h 8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653" h="85449">
                      <a:moveTo>
                        <a:pt x="113654" y="0"/>
                      </a:moveTo>
                      <a:lnTo>
                        <a:pt x="113654" y="25220"/>
                      </a:lnTo>
                      <a:cubicBezTo>
                        <a:pt x="89908" y="29779"/>
                        <a:pt x="67437" y="40004"/>
                        <a:pt x="48519" y="55089"/>
                      </a:cubicBezTo>
                      <a:cubicBezTo>
                        <a:pt x="37546" y="63827"/>
                        <a:pt x="27913" y="74074"/>
                        <a:pt x="19890" y="85450"/>
                      </a:cubicBezTo>
                      <a:lnTo>
                        <a:pt x="0" y="70141"/>
                      </a:lnTo>
                      <a:cubicBezTo>
                        <a:pt x="9219" y="57291"/>
                        <a:pt x="20203" y="45703"/>
                        <a:pt x="32662" y="35780"/>
                      </a:cubicBezTo>
                      <a:cubicBezTo>
                        <a:pt x="56073" y="17119"/>
                        <a:pt x="84120" y="4827"/>
                        <a:pt x="113654" y="0"/>
                      </a:cubicBezTo>
                      <a:close/>
                    </a:path>
                  </a:pathLst>
                </a:custGeom>
                <a:gradFill>
                  <a:gsLst>
                    <a:gs pos="0">
                      <a:srgbClr val="FFFFFF"/>
                    </a:gs>
                    <a:gs pos="99000">
                      <a:srgbClr val="FFFFFF">
                        <a:lumMod val="85000"/>
                      </a:srgbClr>
                    </a:gs>
                  </a:gsLst>
                  <a:lin ang="10800000" scaled="1"/>
                </a:gradFill>
                <a:ln w="76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54" name="Freeform: Shape 253">
                  <a:extLst>
                    <a:ext uri="{FF2B5EF4-FFF2-40B4-BE49-F238E27FC236}">
                      <a16:creationId xmlns:a16="http://schemas.microsoft.com/office/drawing/2014/main" id="{B9548BFB-C0F7-0BDA-487C-BEA5024F796B}"/>
                    </a:ext>
                  </a:extLst>
                </p:cNvPr>
                <p:cNvSpPr/>
                <p:nvPr/>
              </p:nvSpPr>
              <p:spPr>
                <a:xfrm>
                  <a:off x="1682668" y="2527272"/>
                  <a:ext cx="101820" cy="74834"/>
                </a:xfrm>
                <a:custGeom>
                  <a:avLst/>
                  <a:gdLst>
                    <a:gd name="connsiteX0" fmla="*/ 101820 w 101820"/>
                    <a:gd name="connsiteY0" fmla="*/ 56743 h 74834"/>
                    <a:gd name="connsiteX1" fmla="*/ 84344 w 101820"/>
                    <a:gd name="connsiteY1" fmla="*/ 74834 h 74834"/>
                    <a:gd name="connsiteX2" fmla="*/ 49759 w 101820"/>
                    <a:gd name="connsiteY2" fmla="*/ 44965 h 74834"/>
                    <a:gd name="connsiteX3" fmla="*/ 0 w 101820"/>
                    <a:gd name="connsiteY3" fmla="*/ 25254 h 74834"/>
                    <a:gd name="connsiteX4" fmla="*/ 0 w 101820"/>
                    <a:gd name="connsiteY4" fmla="*/ 0 h 74834"/>
                    <a:gd name="connsiteX5" fmla="*/ 63247 w 101820"/>
                    <a:gd name="connsiteY5" fmla="*/ 23980 h 74834"/>
                    <a:gd name="connsiteX6" fmla="*/ 101820 w 101820"/>
                    <a:gd name="connsiteY6" fmla="*/ 56743 h 7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20" h="74834">
                      <a:moveTo>
                        <a:pt x="101820" y="56743"/>
                      </a:moveTo>
                      <a:lnTo>
                        <a:pt x="84344" y="74834"/>
                      </a:lnTo>
                      <a:cubicBezTo>
                        <a:pt x="74454" y="63213"/>
                        <a:pt x="62733" y="53067"/>
                        <a:pt x="49759" y="44965"/>
                      </a:cubicBezTo>
                      <a:cubicBezTo>
                        <a:pt x="34462" y="35422"/>
                        <a:pt x="17611" y="28774"/>
                        <a:pt x="0" y="25254"/>
                      </a:cubicBezTo>
                      <a:lnTo>
                        <a:pt x="0" y="0"/>
                      </a:lnTo>
                      <a:cubicBezTo>
                        <a:pt x="22405" y="3799"/>
                        <a:pt x="43882" y="11912"/>
                        <a:pt x="63247" y="23980"/>
                      </a:cubicBezTo>
                      <a:cubicBezTo>
                        <a:pt x="77617" y="32953"/>
                        <a:pt x="90668" y="44071"/>
                        <a:pt x="101820" y="56743"/>
                      </a:cubicBezTo>
                      <a:close/>
                    </a:path>
                  </a:pathLst>
                </a:custGeom>
                <a:gradFill>
                  <a:gsLst>
                    <a:gs pos="0">
                      <a:srgbClr val="FFFFFF"/>
                    </a:gs>
                    <a:gs pos="100000">
                      <a:srgbClr val="FFFFFF">
                        <a:lumMod val="85000"/>
                      </a:srgbClr>
                    </a:gs>
                  </a:gsLst>
                  <a:lin ang="0" scaled="1"/>
                </a:gradFill>
                <a:ln w="76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grpSp>
          <p:nvGrpSpPr>
            <p:cNvPr id="35" name="Group 34">
              <a:extLst>
                <a:ext uri="{FF2B5EF4-FFF2-40B4-BE49-F238E27FC236}">
                  <a16:creationId xmlns:a16="http://schemas.microsoft.com/office/drawing/2014/main" id="{7C9A0F7F-2554-2CA4-6842-70ABE56A1B5D}"/>
                </a:ext>
              </a:extLst>
            </p:cNvPr>
            <p:cNvGrpSpPr/>
            <p:nvPr/>
          </p:nvGrpSpPr>
          <p:grpSpPr>
            <a:xfrm>
              <a:off x="9736563" y="1618278"/>
              <a:ext cx="398909" cy="399009"/>
              <a:chOff x="4414919" y="1747831"/>
              <a:chExt cx="3364460" cy="3365310"/>
            </a:xfrm>
          </p:grpSpPr>
          <p:grpSp>
            <p:nvGrpSpPr>
              <p:cNvPr id="36" name="Graphic 2">
                <a:extLst>
                  <a:ext uri="{FF2B5EF4-FFF2-40B4-BE49-F238E27FC236}">
                    <a16:creationId xmlns:a16="http://schemas.microsoft.com/office/drawing/2014/main" id="{69C5BE02-0F8A-96A2-4A12-5B5FE2AAB0EE}"/>
                  </a:ext>
                </a:extLst>
              </p:cNvPr>
              <p:cNvGrpSpPr/>
              <p:nvPr/>
            </p:nvGrpSpPr>
            <p:grpSpPr>
              <a:xfrm>
                <a:off x="4587334" y="1923664"/>
                <a:ext cx="3017526" cy="3015894"/>
                <a:chOff x="4587334" y="1923664"/>
                <a:chExt cx="3017526" cy="3015894"/>
              </a:xfrm>
              <a:solidFill>
                <a:srgbClr val="FFFFFF">
                  <a:lumMod val="85000"/>
                </a:srgbClr>
              </a:solidFill>
            </p:grpSpPr>
            <p:sp>
              <p:nvSpPr>
                <p:cNvPr id="173" name="Freeform: Shape 172">
                  <a:extLst>
                    <a:ext uri="{FF2B5EF4-FFF2-40B4-BE49-F238E27FC236}">
                      <a16:creationId xmlns:a16="http://schemas.microsoft.com/office/drawing/2014/main" id="{9572DDAF-EF3D-14F5-96D7-71EAFD77E797}"/>
                    </a:ext>
                  </a:extLst>
                </p:cNvPr>
                <p:cNvSpPr/>
                <p:nvPr/>
              </p:nvSpPr>
              <p:spPr>
                <a:xfrm>
                  <a:off x="6137335" y="1923664"/>
                  <a:ext cx="62977" cy="96019"/>
                </a:xfrm>
                <a:custGeom>
                  <a:avLst/>
                  <a:gdLst>
                    <a:gd name="connsiteX0" fmla="*/ 62962 w 62977"/>
                    <a:gd name="connsiteY0" fmla="*/ 47438 h 96019"/>
                    <a:gd name="connsiteX1" fmla="*/ 30006 w 62977"/>
                    <a:gd name="connsiteY1" fmla="*/ 96016 h 96019"/>
                    <a:gd name="connsiteX2" fmla="*/ 2 w 62977"/>
                    <a:gd name="connsiteY2" fmla="*/ 47819 h 96019"/>
                    <a:gd name="connsiteX3" fmla="*/ 32959 w 62977"/>
                    <a:gd name="connsiteY3" fmla="*/ 4 h 96019"/>
                    <a:gd name="connsiteX4" fmla="*/ 62962 w 62977"/>
                    <a:gd name="connsiteY4" fmla="*/ 47438 h 96019"/>
                    <a:gd name="connsiteX5" fmla="*/ 12480 w 62977"/>
                    <a:gd name="connsiteY5" fmla="*/ 48105 h 96019"/>
                    <a:gd name="connsiteX6" fmla="*/ 30768 w 62977"/>
                    <a:gd name="connsiteY6" fmla="*/ 86205 h 96019"/>
                    <a:gd name="connsiteX7" fmla="*/ 50294 w 62977"/>
                    <a:gd name="connsiteY7" fmla="*/ 47724 h 96019"/>
                    <a:gd name="connsiteX8" fmla="*/ 32006 w 62977"/>
                    <a:gd name="connsiteY8" fmla="*/ 9624 h 96019"/>
                    <a:gd name="connsiteX9" fmla="*/ 12480 w 62977"/>
                    <a:gd name="connsiteY9" fmla="*/ 48105 h 9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977" h="96019">
                      <a:moveTo>
                        <a:pt x="62962" y="47438"/>
                      </a:moveTo>
                      <a:cubicBezTo>
                        <a:pt x="62486" y="78966"/>
                        <a:pt x="50580" y="96301"/>
                        <a:pt x="30006" y="96016"/>
                      </a:cubicBezTo>
                      <a:cubicBezTo>
                        <a:pt x="11813" y="95730"/>
                        <a:pt x="-188" y="78585"/>
                        <a:pt x="2" y="47819"/>
                      </a:cubicBezTo>
                      <a:cubicBezTo>
                        <a:pt x="479" y="16672"/>
                        <a:pt x="14099" y="-282"/>
                        <a:pt x="32959" y="4"/>
                      </a:cubicBezTo>
                      <a:cubicBezTo>
                        <a:pt x="52485" y="289"/>
                        <a:pt x="63439" y="17911"/>
                        <a:pt x="62962" y="47438"/>
                      </a:cubicBezTo>
                      <a:close/>
                      <a:moveTo>
                        <a:pt x="12480" y="48105"/>
                      </a:moveTo>
                      <a:cubicBezTo>
                        <a:pt x="12099" y="72298"/>
                        <a:pt x="19338" y="86110"/>
                        <a:pt x="30768" y="86205"/>
                      </a:cubicBezTo>
                      <a:cubicBezTo>
                        <a:pt x="43627" y="86395"/>
                        <a:pt x="50008" y="71441"/>
                        <a:pt x="50294" y="47724"/>
                      </a:cubicBezTo>
                      <a:cubicBezTo>
                        <a:pt x="50580" y="24864"/>
                        <a:pt x="44960" y="9814"/>
                        <a:pt x="32006" y="9624"/>
                      </a:cubicBezTo>
                      <a:cubicBezTo>
                        <a:pt x="20957" y="9433"/>
                        <a:pt x="12861" y="22768"/>
                        <a:pt x="12480" y="4810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74" name="Freeform: Shape 173">
                  <a:extLst>
                    <a:ext uri="{FF2B5EF4-FFF2-40B4-BE49-F238E27FC236}">
                      <a16:creationId xmlns:a16="http://schemas.microsoft.com/office/drawing/2014/main" id="{EEE3D1BC-D7CB-7DA6-0ACD-0ED3463368FB}"/>
                    </a:ext>
                  </a:extLst>
                </p:cNvPr>
                <p:cNvSpPr/>
                <p:nvPr/>
              </p:nvSpPr>
              <p:spPr>
                <a:xfrm>
                  <a:off x="6248616" y="1933638"/>
                  <a:ext cx="63593" cy="95702"/>
                </a:xfrm>
                <a:custGeom>
                  <a:avLst/>
                  <a:gdLst>
                    <a:gd name="connsiteX0" fmla="*/ 63220 w 63593"/>
                    <a:gd name="connsiteY0" fmla="*/ 49656 h 95702"/>
                    <a:gd name="connsiteX1" fmla="*/ 26644 w 63593"/>
                    <a:gd name="connsiteY1" fmla="*/ 95567 h 95702"/>
                    <a:gd name="connsiteX2" fmla="*/ 355 w 63593"/>
                    <a:gd name="connsiteY2" fmla="*/ 45275 h 95702"/>
                    <a:gd name="connsiteX3" fmla="*/ 36836 w 63593"/>
                    <a:gd name="connsiteY3" fmla="*/ 126 h 95702"/>
                    <a:gd name="connsiteX4" fmla="*/ 63125 w 63593"/>
                    <a:gd name="connsiteY4" fmla="*/ 49751 h 95702"/>
                    <a:gd name="connsiteX5" fmla="*/ 12833 w 63593"/>
                    <a:gd name="connsiteY5" fmla="*/ 46513 h 95702"/>
                    <a:gd name="connsiteX6" fmla="*/ 28168 w 63593"/>
                    <a:gd name="connsiteY6" fmla="*/ 85946 h 95702"/>
                    <a:gd name="connsiteX7" fmla="*/ 50647 w 63593"/>
                    <a:gd name="connsiteY7" fmla="*/ 49085 h 95702"/>
                    <a:gd name="connsiteX8" fmla="*/ 35312 w 63593"/>
                    <a:gd name="connsiteY8" fmla="*/ 9651 h 95702"/>
                    <a:gd name="connsiteX9" fmla="*/ 12928 w 63593"/>
                    <a:gd name="connsiteY9" fmla="*/ 46513 h 95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93" h="95702">
                      <a:moveTo>
                        <a:pt x="63220" y="49656"/>
                      </a:moveTo>
                      <a:cubicBezTo>
                        <a:pt x="60362" y="81089"/>
                        <a:pt x="47123" y="97376"/>
                        <a:pt x="26644" y="95567"/>
                      </a:cubicBezTo>
                      <a:cubicBezTo>
                        <a:pt x="8546" y="93947"/>
                        <a:pt x="-2122" y="75850"/>
                        <a:pt x="355" y="45275"/>
                      </a:cubicBezTo>
                      <a:cubicBezTo>
                        <a:pt x="3212" y="14223"/>
                        <a:pt x="18071" y="-1588"/>
                        <a:pt x="36836" y="126"/>
                      </a:cubicBezTo>
                      <a:cubicBezTo>
                        <a:pt x="56362" y="1936"/>
                        <a:pt x="65887" y="20224"/>
                        <a:pt x="63125" y="49751"/>
                      </a:cubicBezTo>
                      <a:close/>
                      <a:moveTo>
                        <a:pt x="12833" y="46513"/>
                      </a:moveTo>
                      <a:cubicBezTo>
                        <a:pt x="10642" y="70516"/>
                        <a:pt x="16833" y="84899"/>
                        <a:pt x="28168" y="85946"/>
                      </a:cubicBezTo>
                      <a:cubicBezTo>
                        <a:pt x="40931" y="87089"/>
                        <a:pt x="48456" y="72707"/>
                        <a:pt x="50647" y="49085"/>
                      </a:cubicBezTo>
                      <a:cubicBezTo>
                        <a:pt x="52742" y="26320"/>
                        <a:pt x="48266" y="10889"/>
                        <a:pt x="35312" y="9651"/>
                      </a:cubicBezTo>
                      <a:cubicBezTo>
                        <a:pt x="24358" y="8699"/>
                        <a:pt x="15214" y="21272"/>
                        <a:pt x="12928" y="465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75" name="Freeform: Shape 174">
                  <a:extLst>
                    <a:ext uri="{FF2B5EF4-FFF2-40B4-BE49-F238E27FC236}">
                      <a16:creationId xmlns:a16="http://schemas.microsoft.com/office/drawing/2014/main" id="{653F89F6-F93C-87DA-B918-D0D416F5EDF4}"/>
                    </a:ext>
                  </a:extLst>
                </p:cNvPr>
                <p:cNvSpPr/>
                <p:nvPr/>
              </p:nvSpPr>
              <p:spPr>
                <a:xfrm>
                  <a:off x="6358366" y="1952111"/>
                  <a:ext cx="65060" cy="95284"/>
                </a:xfrm>
                <a:custGeom>
                  <a:avLst/>
                  <a:gdLst>
                    <a:gd name="connsiteX0" fmla="*/ 63578 w 65060"/>
                    <a:gd name="connsiteY0" fmla="*/ 51852 h 95284"/>
                    <a:gd name="connsiteX1" fmla="*/ 23573 w 65060"/>
                    <a:gd name="connsiteY1" fmla="*/ 94810 h 95284"/>
                    <a:gd name="connsiteX2" fmla="*/ 1285 w 65060"/>
                    <a:gd name="connsiteY2" fmla="*/ 42613 h 95284"/>
                    <a:gd name="connsiteX3" fmla="*/ 41194 w 65060"/>
                    <a:gd name="connsiteY3" fmla="*/ 417 h 95284"/>
                    <a:gd name="connsiteX4" fmla="*/ 63673 w 65060"/>
                    <a:gd name="connsiteY4" fmla="*/ 51852 h 95284"/>
                    <a:gd name="connsiteX5" fmla="*/ 13667 w 65060"/>
                    <a:gd name="connsiteY5" fmla="*/ 44804 h 95284"/>
                    <a:gd name="connsiteX6" fmla="*/ 25955 w 65060"/>
                    <a:gd name="connsiteY6" fmla="*/ 85285 h 95284"/>
                    <a:gd name="connsiteX7" fmla="*/ 51101 w 65060"/>
                    <a:gd name="connsiteY7" fmla="*/ 50328 h 95284"/>
                    <a:gd name="connsiteX8" fmla="*/ 38813 w 65060"/>
                    <a:gd name="connsiteY8" fmla="*/ 9847 h 95284"/>
                    <a:gd name="connsiteX9" fmla="*/ 13667 w 65060"/>
                    <a:gd name="connsiteY9" fmla="*/ 44804 h 95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060" h="95284">
                      <a:moveTo>
                        <a:pt x="63578" y="51852"/>
                      </a:moveTo>
                      <a:cubicBezTo>
                        <a:pt x="58339" y="82999"/>
                        <a:pt x="43861" y="98239"/>
                        <a:pt x="23573" y="94810"/>
                      </a:cubicBezTo>
                      <a:cubicBezTo>
                        <a:pt x="5666" y="91762"/>
                        <a:pt x="-3573" y="72998"/>
                        <a:pt x="1285" y="42613"/>
                      </a:cubicBezTo>
                      <a:cubicBezTo>
                        <a:pt x="6428" y="11943"/>
                        <a:pt x="22621" y="-2726"/>
                        <a:pt x="41194" y="417"/>
                      </a:cubicBezTo>
                      <a:cubicBezTo>
                        <a:pt x="60530" y="3656"/>
                        <a:pt x="68531" y="22706"/>
                        <a:pt x="63673" y="51852"/>
                      </a:cubicBezTo>
                      <a:close/>
                      <a:moveTo>
                        <a:pt x="13667" y="44804"/>
                      </a:moveTo>
                      <a:cubicBezTo>
                        <a:pt x="9667" y="68616"/>
                        <a:pt x="14715" y="83380"/>
                        <a:pt x="25955" y="85285"/>
                      </a:cubicBezTo>
                      <a:cubicBezTo>
                        <a:pt x="38623" y="87476"/>
                        <a:pt x="47195" y="73665"/>
                        <a:pt x="51101" y="50328"/>
                      </a:cubicBezTo>
                      <a:cubicBezTo>
                        <a:pt x="54910" y="27754"/>
                        <a:pt x="51672" y="12038"/>
                        <a:pt x="38813" y="9847"/>
                      </a:cubicBezTo>
                      <a:cubicBezTo>
                        <a:pt x="27955" y="8037"/>
                        <a:pt x="17858" y="19944"/>
                        <a:pt x="13667" y="4480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76" name="Freeform: Shape 175">
                  <a:extLst>
                    <a:ext uri="{FF2B5EF4-FFF2-40B4-BE49-F238E27FC236}">
                      <a16:creationId xmlns:a16="http://schemas.microsoft.com/office/drawing/2014/main" id="{85F98CFB-F476-EAA0-8A00-2A0727DD7076}"/>
                    </a:ext>
                  </a:extLst>
                </p:cNvPr>
                <p:cNvSpPr/>
                <p:nvPr/>
              </p:nvSpPr>
              <p:spPr>
                <a:xfrm>
                  <a:off x="6485381" y="1981008"/>
                  <a:ext cx="34289" cy="92678"/>
                </a:xfrm>
                <a:custGeom>
                  <a:avLst/>
                  <a:gdLst>
                    <a:gd name="connsiteX0" fmla="*/ 19717 w 34289"/>
                    <a:gd name="connsiteY0" fmla="*/ 11049 h 92678"/>
                    <a:gd name="connsiteX1" fmla="*/ 19431 w 34289"/>
                    <a:gd name="connsiteY1" fmla="*/ 11049 h 92678"/>
                    <a:gd name="connsiteX2" fmla="*/ 1619 w 34289"/>
                    <a:gd name="connsiteY2" fmla="*/ 15526 h 92678"/>
                    <a:gd name="connsiteX3" fmla="*/ 1619 w 34289"/>
                    <a:gd name="connsiteY3" fmla="*/ 5620 h 92678"/>
                    <a:gd name="connsiteX4" fmla="*/ 23908 w 34289"/>
                    <a:gd name="connsiteY4" fmla="*/ 0 h 92678"/>
                    <a:gd name="connsiteX5" fmla="*/ 34290 w 34289"/>
                    <a:gd name="connsiteY5" fmla="*/ 2572 h 92678"/>
                    <a:gd name="connsiteX6" fmla="*/ 11811 w 34289"/>
                    <a:gd name="connsiteY6" fmla="*/ 92678 h 92678"/>
                    <a:gd name="connsiteX7" fmla="*/ 0 w 34289"/>
                    <a:gd name="connsiteY7" fmla="*/ 89726 h 92678"/>
                    <a:gd name="connsiteX8" fmla="*/ 19621 w 34289"/>
                    <a:gd name="connsiteY8" fmla="*/ 10954 h 9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89" h="92678">
                      <a:moveTo>
                        <a:pt x="19717" y="11049"/>
                      </a:moveTo>
                      <a:lnTo>
                        <a:pt x="19431" y="11049"/>
                      </a:lnTo>
                      <a:cubicBezTo>
                        <a:pt x="19431" y="11049"/>
                        <a:pt x="1619" y="15526"/>
                        <a:pt x="1619" y="15526"/>
                      </a:cubicBezTo>
                      <a:lnTo>
                        <a:pt x="1619" y="5620"/>
                      </a:lnTo>
                      <a:cubicBezTo>
                        <a:pt x="1619" y="5620"/>
                        <a:pt x="23908" y="0"/>
                        <a:pt x="23908" y="0"/>
                      </a:cubicBezTo>
                      <a:lnTo>
                        <a:pt x="34290" y="2572"/>
                      </a:lnTo>
                      <a:lnTo>
                        <a:pt x="11811" y="92678"/>
                      </a:lnTo>
                      <a:lnTo>
                        <a:pt x="0" y="89726"/>
                      </a:lnTo>
                      <a:lnTo>
                        <a:pt x="19621" y="1095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77" name="Freeform: Shape 176">
                  <a:extLst>
                    <a:ext uri="{FF2B5EF4-FFF2-40B4-BE49-F238E27FC236}">
                      <a16:creationId xmlns:a16="http://schemas.microsoft.com/office/drawing/2014/main" id="{0C136B0B-604B-C69D-05C2-028C0F20D1F0}"/>
                    </a:ext>
                  </a:extLst>
                </p:cNvPr>
                <p:cNvSpPr/>
                <p:nvPr/>
              </p:nvSpPr>
              <p:spPr>
                <a:xfrm>
                  <a:off x="6588537" y="2016918"/>
                  <a:ext cx="40862" cy="91535"/>
                </a:xfrm>
                <a:custGeom>
                  <a:avLst/>
                  <a:gdLst>
                    <a:gd name="connsiteX0" fmla="*/ 25622 w 40862"/>
                    <a:gd name="connsiteY0" fmla="*/ 10668 h 91535"/>
                    <a:gd name="connsiteX1" fmla="*/ 25336 w 40862"/>
                    <a:gd name="connsiteY1" fmla="*/ 10668 h 91535"/>
                    <a:gd name="connsiteX2" fmla="*/ 7239 w 40862"/>
                    <a:gd name="connsiteY2" fmla="*/ 13716 h 91535"/>
                    <a:gd name="connsiteX3" fmla="*/ 8001 w 40862"/>
                    <a:gd name="connsiteY3" fmla="*/ 3905 h 91535"/>
                    <a:gd name="connsiteX4" fmla="*/ 30670 w 40862"/>
                    <a:gd name="connsiteY4" fmla="*/ 0 h 91535"/>
                    <a:gd name="connsiteX5" fmla="*/ 40862 w 40862"/>
                    <a:gd name="connsiteY5" fmla="*/ 3429 h 91535"/>
                    <a:gd name="connsiteX6" fmla="*/ 11525 w 40862"/>
                    <a:gd name="connsiteY6" fmla="*/ 91535 h 91535"/>
                    <a:gd name="connsiteX7" fmla="*/ 0 w 40862"/>
                    <a:gd name="connsiteY7" fmla="*/ 87725 h 91535"/>
                    <a:gd name="connsiteX8" fmla="*/ 25717 w 40862"/>
                    <a:gd name="connsiteY8" fmla="*/ 10668 h 9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862" h="91535">
                      <a:moveTo>
                        <a:pt x="25622" y="10668"/>
                      </a:moveTo>
                      <a:lnTo>
                        <a:pt x="25336" y="10668"/>
                      </a:lnTo>
                      <a:cubicBezTo>
                        <a:pt x="25336" y="10668"/>
                        <a:pt x="7239" y="13716"/>
                        <a:pt x="7239" y="13716"/>
                      </a:cubicBezTo>
                      <a:lnTo>
                        <a:pt x="8001" y="3905"/>
                      </a:lnTo>
                      <a:lnTo>
                        <a:pt x="30670" y="0"/>
                      </a:lnTo>
                      <a:lnTo>
                        <a:pt x="40862" y="3429"/>
                      </a:lnTo>
                      <a:lnTo>
                        <a:pt x="11525" y="91535"/>
                      </a:lnTo>
                      <a:lnTo>
                        <a:pt x="0" y="87725"/>
                      </a:lnTo>
                      <a:lnTo>
                        <a:pt x="25717" y="106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78" name="Freeform: Shape 177">
                  <a:extLst>
                    <a:ext uri="{FF2B5EF4-FFF2-40B4-BE49-F238E27FC236}">
                      <a16:creationId xmlns:a16="http://schemas.microsoft.com/office/drawing/2014/main" id="{97E0F639-BC31-821A-9B60-E19C983AF128}"/>
                    </a:ext>
                  </a:extLst>
                </p:cNvPr>
                <p:cNvSpPr/>
                <p:nvPr/>
              </p:nvSpPr>
              <p:spPr>
                <a:xfrm>
                  <a:off x="6673554" y="2058386"/>
                  <a:ext cx="71558" cy="92557"/>
                </a:xfrm>
                <a:custGeom>
                  <a:avLst/>
                  <a:gdLst>
                    <a:gd name="connsiteX0" fmla="*/ 65002 w 71558"/>
                    <a:gd name="connsiteY0" fmla="*/ 57496 h 92557"/>
                    <a:gd name="connsiteX1" fmla="*/ 16233 w 71558"/>
                    <a:gd name="connsiteY1" fmla="*/ 90072 h 92557"/>
                    <a:gd name="connsiteX2" fmla="*/ 6423 w 71558"/>
                    <a:gd name="connsiteY2" fmla="*/ 34160 h 92557"/>
                    <a:gd name="connsiteX3" fmla="*/ 54905 w 71558"/>
                    <a:gd name="connsiteY3" fmla="*/ 2251 h 92557"/>
                    <a:gd name="connsiteX4" fmla="*/ 64906 w 71558"/>
                    <a:gd name="connsiteY4" fmla="*/ 57496 h 92557"/>
                    <a:gd name="connsiteX5" fmla="*/ 17948 w 71558"/>
                    <a:gd name="connsiteY5" fmla="*/ 39208 h 92557"/>
                    <a:gd name="connsiteX6" fmla="*/ 20615 w 71558"/>
                    <a:gd name="connsiteY6" fmla="*/ 81404 h 92557"/>
                    <a:gd name="connsiteX7" fmla="*/ 53190 w 71558"/>
                    <a:gd name="connsiteY7" fmla="*/ 53115 h 92557"/>
                    <a:gd name="connsiteX8" fmla="*/ 50523 w 71558"/>
                    <a:gd name="connsiteY8" fmla="*/ 10919 h 92557"/>
                    <a:gd name="connsiteX9" fmla="*/ 17948 w 71558"/>
                    <a:gd name="connsiteY9" fmla="*/ 39208 h 92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58" h="92557">
                      <a:moveTo>
                        <a:pt x="65002" y="57496"/>
                      </a:moveTo>
                      <a:cubicBezTo>
                        <a:pt x="52714" y="86643"/>
                        <a:pt x="35188" y="98073"/>
                        <a:pt x="16233" y="90072"/>
                      </a:cubicBezTo>
                      <a:cubicBezTo>
                        <a:pt x="-531" y="83023"/>
                        <a:pt x="-5198" y="62545"/>
                        <a:pt x="6423" y="34160"/>
                      </a:cubicBezTo>
                      <a:cubicBezTo>
                        <a:pt x="18519" y="5490"/>
                        <a:pt x="37569" y="-5083"/>
                        <a:pt x="54905" y="2251"/>
                      </a:cubicBezTo>
                      <a:cubicBezTo>
                        <a:pt x="72907" y="9871"/>
                        <a:pt x="76431" y="30255"/>
                        <a:pt x="64906" y="57496"/>
                      </a:cubicBezTo>
                      <a:close/>
                      <a:moveTo>
                        <a:pt x="17948" y="39208"/>
                      </a:moveTo>
                      <a:cubicBezTo>
                        <a:pt x="8613" y="61497"/>
                        <a:pt x="10042" y="77023"/>
                        <a:pt x="20615" y="81404"/>
                      </a:cubicBezTo>
                      <a:cubicBezTo>
                        <a:pt x="32426" y="86357"/>
                        <a:pt x="43951" y="74927"/>
                        <a:pt x="53190" y="53115"/>
                      </a:cubicBezTo>
                      <a:cubicBezTo>
                        <a:pt x="62049" y="32065"/>
                        <a:pt x="62525" y="15967"/>
                        <a:pt x="50523" y="10919"/>
                      </a:cubicBezTo>
                      <a:cubicBezTo>
                        <a:pt x="40427" y="6633"/>
                        <a:pt x="27759" y="15872"/>
                        <a:pt x="17948" y="392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79" name="Freeform: Shape 178">
                  <a:extLst>
                    <a:ext uri="{FF2B5EF4-FFF2-40B4-BE49-F238E27FC236}">
                      <a16:creationId xmlns:a16="http://schemas.microsoft.com/office/drawing/2014/main" id="{70039275-84D5-371F-25AF-017FC05ABF89}"/>
                    </a:ext>
                  </a:extLst>
                </p:cNvPr>
                <p:cNvSpPr/>
                <p:nvPr/>
              </p:nvSpPr>
              <p:spPr>
                <a:xfrm>
                  <a:off x="6863166" y="2167192"/>
                  <a:ext cx="76748" cy="89679"/>
                </a:xfrm>
                <a:custGeom>
                  <a:avLst/>
                  <a:gdLst>
                    <a:gd name="connsiteX0" fmla="*/ 65509 w 76748"/>
                    <a:gd name="connsiteY0" fmla="*/ 60324 h 89679"/>
                    <a:gd name="connsiteX1" fmla="*/ 12359 w 76748"/>
                    <a:gd name="connsiteY1" fmla="*/ 85184 h 89679"/>
                    <a:gd name="connsiteX2" fmla="*/ 11121 w 76748"/>
                    <a:gd name="connsiteY2" fmla="*/ 28415 h 89679"/>
                    <a:gd name="connsiteX3" fmla="*/ 63890 w 76748"/>
                    <a:gd name="connsiteY3" fmla="*/ 4126 h 89679"/>
                    <a:gd name="connsiteX4" fmla="*/ 65509 w 76748"/>
                    <a:gd name="connsiteY4" fmla="*/ 60228 h 89679"/>
                    <a:gd name="connsiteX5" fmla="*/ 21789 w 76748"/>
                    <a:gd name="connsiteY5" fmla="*/ 35178 h 89679"/>
                    <a:gd name="connsiteX6" fmla="*/ 18074 w 76748"/>
                    <a:gd name="connsiteY6" fmla="*/ 77278 h 89679"/>
                    <a:gd name="connsiteX7" fmla="*/ 54555 w 76748"/>
                    <a:gd name="connsiteY7" fmla="*/ 54228 h 89679"/>
                    <a:gd name="connsiteX8" fmla="*/ 58270 w 76748"/>
                    <a:gd name="connsiteY8" fmla="*/ 12127 h 89679"/>
                    <a:gd name="connsiteX9" fmla="*/ 21789 w 76748"/>
                    <a:gd name="connsiteY9" fmla="*/ 35178 h 8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748" h="89679">
                      <a:moveTo>
                        <a:pt x="65509" y="60324"/>
                      </a:moveTo>
                      <a:cubicBezTo>
                        <a:pt x="49031" y="87279"/>
                        <a:pt x="29885" y="95947"/>
                        <a:pt x="12359" y="85184"/>
                      </a:cubicBezTo>
                      <a:cubicBezTo>
                        <a:pt x="-3071" y="75659"/>
                        <a:pt x="-4690" y="54799"/>
                        <a:pt x="11121" y="28415"/>
                      </a:cubicBezTo>
                      <a:cubicBezTo>
                        <a:pt x="27409" y="1840"/>
                        <a:pt x="47792" y="-5685"/>
                        <a:pt x="63890" y="4126"/>
                      </a:cubicBezTo>
                      <a:cubicBezTo>
                        <a:pt x="80558" y="14318"/>
                        <a:pt x="80939" y="35082"/>
                        <a:pt x="65509" y="60228"/>
                      </a:cubicBezTo>
                      <a:close/>
                      <a:moveTo>
                        <a:pt x="21789" y="35178"/>
                      </a:moveTo>
                      <a:cubicBezTo>
                        <a:pt x="9121" y="55752"/>
                        <a:pt x="8359" y="71373"/>
                        <a:pt x="18074" y="77278"/>
                      </a:cubicBezTo>
                      <a:cubicBezTo>
                        <a:pt x="29028" y="84041"/>
                        <a:pt x="42077" y="74421"/>
                        <a:pt x="54555" y="54228"/>
                      </a:cubicBezTo>
                      <a:cubicBezTo>
                        <a:pt x="66461" y="34701"/>
                        <a:pt x="69319" y="18890"/>
                        <a:pt x="58270" y="12127"/>
                      </a:cubicBezTo>
                      <a:cubicBezTo>
                        <a:pt x="48840" y="6412"/>
                        <a:pt x="35029" y="13651"/>
                        <a:pt x="21789" y="351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80" name="Freeform: Shape 179">
                  <a:extLst>
                    <a:ext uri="{FF2B5EF4-FFF2-40B4-BE49-F238E27FC236}">
                      <a16:creationId xmlns:a16="http://schemas.microsoft.com/office/drawing/2014/main" id="{0E722A54-9727-C5F8-1EFE-BB3CE10B6D76}"/>
                    </a:ext>
                  </a:extLst>
                </p:cNvPr>
                <p:cNvSpPr/>
                <p:nvPr/>
              </p:nvSpPr>
              <p:spPr>
                <a:xfrm>
                  <a:off x="7034503" y="2303985"/>
                  <a:ext cx="81808" cy="85935"/>
                </a:xfrm>
                <a:custGeom>
                  <a:avLst/>
                  <a:gdLst>
                    <a:gd name="connsiteX0" fmla="*/ 65431 w 81808"/>
                    <a:gd name="connsiteY0" fmla="*/ 62310 h 85935"/>
                    <a:gd name="connsiteX1" fmla="*/ 9138 w 81808"/>
                    <a:gd name="connsiteY1" fmla="*/ 78979 h 85935"/>
                    <a:gd name="connsiteX2" fmla="*/ 16378 w 81808"/>
                    <a:gd name="connsiteY2" fmla="*/ 22686 h 85935"/>
                    <a:gd name="connsiteX3" fmla="*/ 72194 w 81808"/>
                    <a:gd name="connsiteY3" fmla="*/ 6493 h 85935"/>
                    <a:gd name="connsiteX4" fmla="*/ 65431 w 81808"/>
                    <a:gd name="connsiteY4" fmla="*/ 62215 h 85935"/>
                    <a:gd name="connsiteX5" fmla="*/ 25903 w 81808"/>
                    <a:gd name="connsiteY5" fmla="*/ 30973 h 85935"/>
                    <a:gd name="connsiteX6" fmla="*/ 15996 w 81808"/>
                    <a:gd name="connsiteY6" fmla="*/ 72121 h 85935"/>
                    <a:gd name="connsiteX7" fmla="*/ 55430 w 81808"/>
                    <a:gd name="connsiteY7" fmla="*/ 54690 h 85935"/>
                    <a:gd name="connsiteX8" fmla="*/ 65336 w 81808"/>
                    <a:gd name="connsiteY8" fmla="*/ 13542 h 85935"/>
                    <a:gd name="connsiteX9" fmla="*/ 25903 w 81808"/>
                    <a:gd name="connsiteY9" fmla="*/ 30973 h 8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808" h="85935">
                      <a:moveTo>
                        <a:pt x="65431" y="62310"/>
                      </a:moveTo>
                      <a:cubicBezTo>
                        <a:pt x="45143" y="86503"/>
                        <a:pt x="24950" y="92218"/>
                        <a:pt x="9138" y="78979"/>
                      </a:cubicBezTo>
                      <a:cubicBezTo>
                        <a:pt x="-4768" y="67263"/>
                        <a:pt x="-3149" y="46403"/>
                        <a:pt x="16378" y="22686"/>
                      </a:cubicBezTo>
                      <a:cubicBezTo>
                        <a:pt x="36475" y="-1127"/>
                        <a:pt x="57716" y="-5603"/>
                        <a:pt x="72194" y="6493"/>
                      </a:cubicBezTo>
                      <a:cubicBezTo>
                        <a:pt x="87148" y="19066"/>
                        <a:pt x="84481" y="39640"/>
                        <a:pt x="65431" y="62215"/>
                      </a:cubicBezTo>
                      <a:close/>
                      <a:moveTo>
                        <a:pt x="25903" y="30973"/>
                      </a:moveTo>
                      <a:cubicBezTo>
                        <a:pt x="10377" y="49451"/>
                        <a:pt x="7234" y="64691"/>
                        <a:pt x="15996" y="72121"/>
                      </a:cubicBezTo>
                      <a:cubicBezTo>
                        <a:pt x="25807" y="80407"/>
                        <a:pt x="40190" y="72883"/>
                        <a:pt x="55430" y="54690"/>
                      </a:cubicBezTo>
                      <a:cubicBezTo>
                        <a:pt x="70099" y="37164"/>
                        <a:pt x="75337" y="21924"/>
                        <a:pt x="65336" y="13542"/>
                      </a:cubicBezTo>
                      <a:cubicBezTo>
                        <a:pt x="56954" y="6493"/>
                        <a:pt x="42190" y="11542"/>
                        <a:pt x="25903" y="3097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81" name="Freeform: Shape 180">
                  <a:extLst>
                    <a:ext uri="{FF2B5EF4-FFF2-40B4-BE49-F238E27FC236}">
                      <a16:creationId xmlns:a16="http://schemas.microsoft.com/office/drawing/2014/main" id="{1910FC9A-0A0C-9C37-175A-CD2F5A0A6332}"/>
                    </a:ext>
                  </a:extLst>
                </p:cNvPr>
                <p:cNvSpPr/>
                <p:nvPr/>
              </p:nvSpPr>
              <p:spPr>
                <a:xfrm>
                  <a:off x="7120698" y="2384487"/>
                  <a:ext cx="73723" cy="80200"/>
                </a:xfrm>
                <a:custGeom>
                  <a:avLst/>
                  <a:gdLst>
                    <a:gd name="connsiteX0" fmla="*/ 56864 w 73723"/>
                    <a:gd name="connsiteY0" fmla="*/ 13811 h 80200"/>
                    <a:gd name="connsiteX1" fmla="*/ 56674 w 73723"/>
                    <a:gd name="connsiteY1" fmla="*/ 13621 h 80200"/>
                    <a:gd name="connsiteX2" fmla="*/ 39053 w 73723"/>
                    <a:gd name="connsiteY2" fmla="*/ 8477 h 80200"/>
                    <a:gd name="connsiteX3" fmla="*/ 44006 w 73723"/>
                    <a:gd name="connsiteY3" fmla="*/ 0 h 80200"/>
                    <a:gd name="connsiteX4" fmla="*/ 66104 w 73723"/>
                    <a:gd name="connsiteY4" fmla="*/ 6477 h 80200"/>
                    <a:gd name="connsiteX5" fmla="*/ 73724 w 73723"/>
                    <a:gd name="connsiteY5" fmla="*/ 14002 h 80200"/>
                    <a:gd name="connsiteX6" fmla="*/ 8668 w 73723"/>
                    <a:gd name="connsiteY6" fmla="*/ 80201 h 80200"/>
                    <a:gd name="connsiteX7" fmla="*/ 0 w 73723"/>
                    <a:gd name="connsiteY7" fmla="*/ 71723 h 80200"/>
                    <a:gd name="connsiteX8" fmla="*/ 56864 w 73723"/>
                    <a:gd name="connsiteY8" fmla="*/ 13811 h 8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723" h="80200">
                      <a:moveTo>
                        <a:pt x="56864" y="13811"/>
                      </a:moveTo>
                      <a:lnTo>
                        <a:pt x="56674" y="13621"/>
                      </a:lnTo>
                      <a:lnTo>
                        <a:pt x="39053" y="8477"/>
                      </a:lnTo>
                      <a:lnTo>
                        <a:pt x="44006" y="0"/>
                      </a:lnTo>
                      <a:lnTo>
                        <a:pt x="66104" y="6477"/>
                      </a:lnTo>
                      <a:lnTo>
                        <a:pt x="73724" y="14002"/>
                      </a:lnTo>
                      <a:lnTo>
                        <a:pt x="8668" y="80201"/>
                      </a:lnTo>
                      <a:lnTo>
                        <a:pt x="0" y="71723"/>
                      </a:lnTo>
                      <a:lnTo>
                        <a:pt x="56864" y="1381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82" name="Freeform: Shape 181">
                  <a:extLst>
                    <a:ext uri="{FF2B5EF4-FFF2-40B4-BE49-F238E27FC236}">
                      <a16:creationId xmlns:a16="http://schemas.microsoft.com/office/drawing/2014/main" id="{64518D23-D6F5-DB21-81B3-3FD1E4C639EF}"/>
                    </a:ext>
                  </a:extLst>
                </p:cNvPr>
                <p:cNvSpPr/>
                <p:nvPr/>
              </p:nvSpPr>
              <p:spPr>
                <a:xfrm>
                  <a:off x="7186370" y="2468670"/>
                  <a:ext cx="86442" cy="81400"/>
                </a:xfrm>
                <a:custGeom>
                  <a:avLst/>
                  <a:gdLst>
                    <a:gd name="connsiteX0" fmla="*/ 64440 w 86442"/>
                    <a:gd name="connsiteY0" fmla="*/ 63550 h 81400"/>
                    <a:gd name="connsiteX1" fmla="*/ 6338 w 86442"/>
                    <a:gd name="connsiteY1" fmla="*/ 71456 h 81400"/>
                    <a:gd name="connsiteX2" fmla="*/ 22054 w 86442"/>
                    <a:gd name="connsiteY2" fmla="*/ 16973 h 81400"/>
                    <a:gd name="connsiteX3" fmla="*/ 79680 w 86442"/>
                    <a:gd name="connsiteY3" fmla="*/ 9448 h 81400"/>
                    <a:gd name="connsiteX4" fmla="*/ 64535 w 86442"/>
                    <a:gd name="connsiteY4" fmla="*/ 63550 h 81400"/>
                    <a:gd name="connsiteX5" fmla="*/ 30150 w 86442"/>
                    <a:gd name="connsiteY5" fmla="*/ 26498 h 81400"/>
                    <a:gd name="connsiteX6" fmla="*/ 14053 w 86442"/>
                    <a:gd name="connsiteY6" fmla="*/ 65645 h 81400"/>
                    <a:gd name="connsiteX7" fmla="*/ 55677 w 86442"/>
                    <a:gd name="connsiteY7" fmla="*/ 54501 h 81400"/>
                    <a:gd name="connsiteX8" fmla="*/ 71774 w 86442"/>
                    <a:gd name="connsiteY8" fmla="*/ 15353 h 81400"/>
                    <a:gd name="connsiteX9" fmla="*/ 30150 w 86442"/>
                    <a:gd name="connsiteY9" fmla="*/ 26498 h 8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442" h="81400">
                      <a:moveTo>
                        <a:pt x="64440" y="63550"/>
                      </a:moveTo>
                      <a:cubicBezTo>
                        <a:pt x="40627" y="84314"/>
                        <a:pt x="19863" y="86981"/>
                        <a:pt x="6338" y="71456"/>
                      </a:cubicBezTo>
                      <a:cubicBezTo>
                        <a:pt x="-5569" y="57835"/>
                        <a:pt x="-901" y="37356"/>
                        <a:pt x="22054" y="16973"/>
                      </a:cubicBezTo>
                      <a:cubicBezTo>
                        <a:pt x="45485" y="-3506"/>
                        <a:pt x="67202" y="-4744"/>
                        <a:pt x="79680" y="9448"/>
                      </a:cubicBezTo>
                      <a:cubicBezTo>
                        <a:pt x="92539" y="24212"/>
                        <a:pt x="86824" y="44024"/>
                        <a:pt x="64535" y="63550"/>
                      </a:cubicBezTo>
                      <a:close/>
                      <a:moveTo>
                        <a:pt x="30150" y="26498"/>
                      </a:moveTo>
                      <a:cubicBezTo>
                        <a:pt x="11957" y="42404"/>
                        <a:pt x="6528" y="56978"/>
                        <a:pt x="14053" y="65645"/>
                      </a:cubicBezTo>
                      <a:cubicBezTo>
                        <a:pt x="22530" y="75361"/>
                        <a:pt x="37865" y="70027"/>
                        <a:pt x="55677" y="54501"/>
                      </a:cubicBezTo>
                      <a:cubicBezTo>
                        <a:pt x="72917" y="39452"/>
                        <a:pt x="80347" y="25164"/>
                        <a:pt x="71774" y="15353"/>
                      </a:cubicBezTo>
                      <a:cubicBezTo>
                        <a:pt x="64535" y="7067"/>
                        <a:pt x="49105" y="9924"/>
                        <a:pt x="30150" y="2649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83" name="Freeform: Shape 182">
                  <a:extLst>
                    <a:ext uri="{FF2B5EF4-FFF2-40B4-BE49-F238E27FC236}">
                      <a16:creationId xmlns:a16="http://schemas.microsoft.com/office/drawing/2014/main" id="{D82A0A16-D7E0-DC78-DA17-E9E851445C53}"/>
                    </a:ext>
                  </a:extLst>
                </p:cNvPr>
                <p:cNvSpPr/>
                <p:nvPr/>
              </p:nvSpPr>
              <p:spPr>
                <a:xfrm>
                  <a:off x="7257668" y="2559843"/>
                  <a:ext cx="81629" cy="73914"/>
                </a:xfrm>
                <a:custGeom>
                  <a:avLst/>
                  <a:gdLst>
                    <a:gd name="connsiteX0" fmla="*/ 65056 w 81629"/>
                    <a:gd name="connsiteY0" fmla="*/ 15621 h 73914"/>
                    <a:gd name="connsiteX1" fmla="*/ 64865 w 81629"/>
                    <a:gd name="connsiteY1" fmla="*/ 15431 h 73914"/>
                    <a:gd name="connsiteX2" fmla="*/ 48196 w 81629"/>
                    <a:gd name="connsiteY2" fmla="*/ 7715 h 73914"/>
                    <a:gd name="connsiteX3" fmla="*/ 54388 w 81629"/>
                    <a:gd name="connsiteY3" fmla="*/ 0 h 73914"/>
                    <a:gd name="connsiteX4" fmla="*/ 75247 w 81629"/>
                    <a:gd name="connsiteY4" fmla="*/ 9715 h 73914"/>
                    <a:gd name="connsiteX5" fmla="*/ 81629 w 81629"/>
                    <a:gd name="connsiteY5" fmla="*/ 18288 h 73914"/>
                    <a:gd name="connsiteX6" fmla="*/ 7239 w 81629"/>
                    <a:gd name="connsiteY6" fmla="*/ 73914 h 73914"/>
                    <a:gd name="connsiteX7" fmla="*/ 0 w 81629"/>
                    <a:gd name="connsiteY7" fmla="*/ 64198 h 73914"/>
                    <a:gd name="connsiteX8" fmla="*/ 64961 w 81629"/>
                    <a:gd name="connsiteY8" fmla="*/ 15621 h 7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629" h="73914">
                      <a:moveTo>
                        <a:pt x="65056" y="15621"/>
                      </a:moveTo>
                      <a:lnTo>
                        <a:pt x="64865" y="15431"/>
                      </a:lnTo>
                      <a:lnTo>
                        <a:pt x="48196" y="7715"/>
                      </a:lnTo>
                      <a:lnTo>
                        <a:pt x="54388" y="0"/>
                      </a:lnTo>
                      <a:lnTo>
                        <a:pt x="75247" y="9715"/>
                      </a:lnTo>
                      <a:lnTo>
                        <a:pt x="81629" y="18288"/>
                      </a:lnTo>
                      <a:lnTo>
                        <a:pt x="7239" y="73914"/>
                      </a:lnTo>
                      <a:lnTo>
                        <a:pt x="0" y="64198"/>
                      </a:lnTo>
                      <a:lnTo>
                        <a:pt x="64961" y="1562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84" name="Freeform: Shape 183">
                  <a:extLst>
                    <a:ext uri="{FF2B5EF4-FFF2-40B4-BE49-F238E27FC236}">
                      <a16:creationId xmlns:a16="http://schemas.microsoft.com/office/drawing/2014/main" id="{CA0CAAF6-852D-579C-FC13-DB685FD90154}"/>
                    </a:ext>
                  </a:extLst>
                </p:cNvPr>
                <p:cNvSpPr/>
                <p:nvPr/>
              </p:nvSpPr>
              <p:spPr>
                <a:xfrm>
                  <a:off x="7312009" y="2654940"/>
                  <a:ext cx="90304" cy="76454"/>
                </a:xfrm>
                <a:custGeom>
                  <a:avLst/>
                  <a:gdLst>
                    <a:gd name="connsiteX0" fmla="*/ 62721 w 90304"/>
                    <a:gd name="connsiteY0" fmla="*/ 64066 h 76454"/>
                    <a:gd name="connsiteX1" fmla="*/ 4047 w 90304"/>
                    <a:gd name="connsiteY1" fmla="*/ 63113 h 76454"/>
                    <a:gd name="connsiteX2" fmla="*/ 27860 w 90304"/>
                    <a:gd name="connsiteY2" fmla="*/ 11583 h 76454"/>
                    <a:gd name="connsiteX3" fmla="*/ 85962 w 90304"/>
                    <a:gd name="connsiteY3" fmla="*/ 12916 h 76454"/>
                    <a:gd name="connsiteX4" fmla="*/ 62721 w 90304"/>
                    <a:gd name="connsiteY4" fmla="*/ 64066 h 76454"/>
                    <a:gd name="connsiteX5" fmla="*/ 34527 w 90304"/>
                    <a:gd name="connsiteY5" fmla="*/ 22251 h 76454"/>
                    <a:gd name="connsiteX6" fmla="*/ 12715 w 90304"/>
                    <a:gd name="connsiteY6" fmla="*/ 58446 h 76454"/>
                    <a:gd name="connsiteX7" fmla="*/ 55577 w 90304"/>
                    <a:gd name="connsiteY7" fmla="*/ 53683 h 76454"/>
                    <a:gd name="connsiteX8" fmla="*/ 77390 w 90304"/>
                    <a:gd name="connsiteY8" fmla="*/ 17488 h 76454"/>
                    <a:gd name="connsiteX9" fmla="*/ 34527 w 90304"/>
                    <a:gd name="connsiteY9" fmla="*/ 22251 h 76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04" h="76454">
                      <a:moveTo>
                        <a:pt x="62721" y="64066"/>
                      </a:moveTo>
                      <a:cubicBezTo>
                        <a:pt x="36051" y="81020"/>
                        <a:pt x="15096" y="80449"/>
                        <a:pt x="4047" y="63113"/>
                      </a:cubicBezTo>
                      <a:cubicBezTo>
                        <a:pt x="-5668" y="47778"/>
                        <a:pt x="2047" y="28347"/>
                        <a:pt x="27860" y="11583"/>
                      </a:cubicBezTo>
                      <a:cubicBezTo>
                        <a:pt x="54149" y="-5086"/>
                        <a:pt x="75866" y="-2990"/>
                        <a:pt x="85962" y="12916"/>
                      </a:cubicBezTo>
                      <a:cubicBezTo>
                        <a:pt x="96440" y="29490"/>
                        <a:pt x="87677" y="48159"/>
                        <a:pt x="62721" y="64066"/>
                      </a:cubicBezTo>
                      <a:close/>
                      <a:moveTo>
                        <a:pt x="34527" y="22251"/>
                      </a:moveTo>
                      <a:cubicBezTo>
                        <a:pt x="14143" y="35205"/>
                        <a:pt x="6524" y="48826"/>
                        <a:pt x="12715" y="58446"/>
                      </a:cubicBezTo>
                      <a:cubicBezTo>
                        <a:pt x="19573" y="69304"/>
                        <a:pt x="35575" y="66447"/>
                        <a:pt x="55577" y="53683"/>
                      </a:cubicBezTo>
                      <a:cubicBezTo>
                        <a:pt x="74913" y="41396"/>
                        <a:pt x="84438" y="28442"/>
                        <a:pt x="77390" y="17488"/>
                      </a:cubicBezTo>
                      <a:cubicBezTo>
                        <a:pt x="71484" y="8154"/>
                        <a:pt x="55863" y="8630"/>
                        <a:pt x="34527" y="222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85" name="Freeform: Shape 184">
                  <a:extLst>
                    <a:ext uri="{FF2B5EF4-FFF2-40B4-BE49-F238E27FC236}">
                      <a16:creationId xmlns:a16="http://schemas.microsoft.com/office/drawing/2014/main" id="{F1F9CA38-5140-8266-E43E-95C5B7B20B95}"/>
                    </a:ext>
                  </a:extLst>
                </p:cNvPr>
                <p:cNvSpPr/>
                <p:nvPr/>
              </p:nvSpPr>
              <p:spPr>
                <a:xfrm>
                  <a:off x="7364163" y="2755015"/>
                  <a:ext cx="91880" cy="73859"/>
                </a:xfrm>
                <a:custGeom>
                  <a:avLst/>
                  <a:gdLst>
                    <a:gd name="connsiteX0" fmla="*/ 61430 w 91880"/>
                    <a:gd name="connsiteY0" fmla="*/ 64098 h 73859"/>
                    <a:gd name="connsiteX1" fmla="*/ 3042 w 91880"/>
                    <a:gd name="connsiteY1" fmla="*/ 58574 h 73859"/>
                    <a:gd name="connsiteX2" fmla="*/ 30760 w 91880"/>
                    <a:gd name="connsiteY2" fmla="*/ 9044 h 73859"/>
                    <a:gd name="connsiteX3" fmla="*/ 88577 w 91880"/>
                    <a:gd name="connsiteY3" fmla="*/ 14949 h 73859"/>
                    <a:gd name="connsiteX4" fmla="*/ 61526 w 91880"/>
                    <a:gd name="connsiteY4" fmla="*/ 64098 h 73859"/>
                    <a:gd name="connsiteX5" fmla="*/ 36475 w 91880"/>
                    <a:gd name="connsiteY5" fmla="*/ 20188 h 73859"/>
                    <a:gd name="connsiteX6" fmla="*/ 11901 w 91880"/>
                    <a:gd name="connsiteY6" fmla="*/ 54573 h 73859"/>
                    <a:gd name="connsiteX7" fmla="*/ 55049 w 91880"/>
                    <a:gd name="connsiteY7" fmla="*/ 53240 h 73859"/>
                    <a:gd name="connsiteX8" fmla="*/ 79623 w 91880"/>
                    <a:gd name="connsiteY8" fmla="*/ 18854 h 73859"/>
                    <a:gd name="connsiteX9" fmla="*/ 36475 w 91880"/>
                    <a:gd name="connsiteY9" fmla="*/ 20188 h 7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880" h="73859">
                      <a:moveTo>
                        <a:pt x="61430" y="64098"/>
                      </a:moveTo>
                      <a:cubicBezTo>
                        <a:pt x="33522" y="78862"/>
                        <a:pt x="12662" y="76766"/>
                        <a:pt x="3042" y="58574"/>
                      </a:cubicBezTo>
                      <a:cubicBezTo>
                        <a:pt x="-5435" y="42572"/>
                        <a:pt x="3804" y="23712"/>
                        <a:pt x="30760" y="9044"/>
                      </a:cubicBezTo>
                      <a:cubicBezTo>
                        <a:pt x="58287" y="-5530"/>
                        <a:pt x="79719" y="-1720"/>
                        <a:pt x="88577" y="14949"/>
                      </a:cubicBezTo>
                      <a:cubicBezTo>
                        <a:pt x="97721" y="32189"/>
                        <a:pt x="87624" y="50287"/>
                        <a:pt x="61526" y="64098"/>
                      </a:cubicBezTo>
                      <a:close/>
                      <a:moveTo>
                        <a:pt x="36475" y="20188"/>
                      </a:moveTo>
                      <a:cubicBezTo>
                        <a:pt x="15139" y="31523"/>
                        <a:pt x="6566" y="44477"/>
                        <a:pt x="11901" y="54573"/>
                      </a:cubicBezTo>
                      <a:cubicBezTo>
                        <a:pt x="17901" y="65908"/>
                        <a:pt x="34094" y="64289"/>
                        <a:pt x="55049" y="53240"/>
                      </a:cubicBezTo>
                      <a:cubicBezTo>
                        <a:pt x="75242" y="42572"/>
                        <a:pt x="85719" y="30284"/>
                        <a:pt x="79623" y="18854"/>
                      </a:cubicBezTo>
                      <a:cubicBezTo>
                        <a:pt x="74480" y="9139"/>
                        <a:pt x="58859" y="8377"/>
                        <a:pt x="36475" y="2018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86" name="Freeform: Shape 185">
                  <a:extLst>
                    <a:ext uri="{FF2B5EF4-FFF2-40B4-BE49-F238E27FC236}">
                      <a16:creationId xmlns:a16="http://schemas.microsoft.com/office/drawing/2014/main" id="{899A55B9-7510-292B-5A60-342B319EB2D3}"/>
                    </a:ext>
                  </a:extLst>
                </p:cNvPr>
                <p:cNvSpPr/>
                <p:nvPr/>
              </p:nvSpPr>
              <p:spPr>
                <a:xfrm>
                  <a:off x="7411306" y="2859880"/>
                  <a:ext cx="90011" cy="61245"/>
                </a:xfrm>
                <a:custGeom>
                  <a:avLst/>
                  <a:gdLst>
                    <a:gd name="connsiteX0" fmla="*/ 74390 w 90011"/>
                    <a:gd name="connsiteY0" fmla="*/ 17717 h 61245"/>
                    <a:gd name="connsiteX1" fmla="*/ 74390 w 90011"/>
                    <a:gd name="connsiteY1" fmla="*/ 17431 h 61245"/>
                    <a:gd name="connsiteX2" fmla="*/ 59817 w 90011"/>
                    <a:gd name="connsiteY2" fmla="*/ 6096 h 61245"/>
                    <a:gd name="connsiteX3" fmla="*/ 67628 w 90011"/>
                    <a:gd name="connsiteY3" fmla="*/ 0 h 61245"/>
                    <a:gd name="connsiteX4" fmla="*/ 85725 w 90011"/>
                    <a:gd name="connsiteY4" fmla="*/ 14288 h 61245"/>
                    <a:gd name="connsiteX5" fmla="*/ 90011 w 90011"/>
                    <a:gd name="connsiteY5" fmla="*/ 24098 h 61245"/>
                    <a:gd name="connsiteX6" fmla="*/ 4858 w 90011"/>
                    <a:gd name="connsiteY6" fmla="*/ 61246 h 61245"/>
                    <a:gd name="connsiteX7" fmla="*/ 0 w 90011"/>
                    <a:gd name="connsiteY7" fmla="*/ 50102 h 61245"/>
                    <a:gd name="connsiteX8" fmla="*/ 74390 w 90011"/>
                    <a:gd name="connsiteY8" fmla="*/ 17621 h 6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011" h="61245">
                      <a:moveTo>
                        <a:pt x="74390" y="17717"/>
                      </a:moveTo>
                      <a:lnTo>
                        <a:pt x="74390" y="17431"/>
                      </a:lnTo>
                      <a:cubicBezTo>
                        <a:pt x="74390" y="17431"/>
                        <a:pt x="59817" y="6096"/>
                        <a:pt x="59817" y="6096"/>
                      </a:cubicBezTo>
                      <a:lnTo>
                        <a:pt x="67628" y="0"/>
                      </a:lnTo>
                      <a:lnTo>
                        <a:pt x="85725" y="14288"/>
                      </a:lnTo>
                      <a:lnTo>
                        <a:pt x="90011" y="24098"/>
                      </a:lnTo>
                      <a:lnTo>
                        <a:pt x="4858" y="61246"/>
                      </a:lnTo>
                      <a:lnTo>
                        <a:pt x="0" y="50102"/>
                      </a:lnTo>
                      <a:lnTo>
                        <a:pt x="74390" y="1762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87" name="Freeform: Shape 186">
                  <a:extLst>
                    <a:ext uri="{FF2B5EF4-FFF2-40B4-BE49-F238E27FC236}">
                      <a16:creationId xmlns:a16="http://schemas.microsoft.com/office/drawing/2014/main" id="{224D92C0-5EBE-205B-61F1-C44AC1C623BA}"/>
                    </a:ext>
                  </a:extLst>
                </p:cNvPr>
                <p:cNvSpPr/>
                <p:nvPr/>
              </p:nvSpPr>
              <p:spPr>
                <a:xfrm>
                  <a:off x="7445179" y="2965573"/>
                  <a:ext cx="94328" cy="68988"/>
                </a:xfrm>
                <a:custGeom>
                  <a:avLst/>
                  <a:gdLst>
                    <a:gd name="connsiteX0" fmla="*/ 58329 w 94328"/>
                    <a:gd name="connsiteY0" fmla="*/ 63852 h 68988"/>
                    <a:gd name="connsiteX1" fmla="*/ 1465 w 94328"/>
                    <a:gd name="connsiteY1" fmla="*/ 49374 h 68988"/>
                    <a:gd name="connsiteX2" fmla="*/ 36517 w 94328"/>
                    <a:gd name="connsiteY2" fmla="*/ 4702 h 68988"/>
                    <a:gd name="connsiteX3" fmla="*/ 92715 w 94328"/>
                    <a:gd name="connsiteY3" fmla="*/ 19370 h 68988"/>
                    <a:gd name="connsiteX4" fmla="*/ 58329 w 94328"/>
                    <a:gd name="connsiteY4" fmla="*/ 63852 h 68988"/>
                    <a:gd name="connsiteX5" fmla="*/ 40422 w 94328"/>
                    <a:gd name="connsiteY5" fmla="*/ 16608 h 68988"/>
                    <a:gd name="connsiteX6" fmla="*/ 10800 w 94328"/>
                    <a:gd name="connsiteY6" fmla="*/ 46802 h 68988"/>
                    <a:gd name="connsiteX7" fmla="*/ 53662 w 94328"/>
                    <a:gd name="connsiteY7" fmla="*/ 52041 h 68988"/>
                    <a:gd name="connsiteX8" fmla="*/ 83285 w 94328"/>
                    <a:gd name="connsiteY8" fmla="*/ 21847 h 68988"/>
                    <a:gd name="connsiteX9" fmla="*/ 40422 w 94328"/>
                    <a:gd name="connsiteY9" fmla="*/ 16608 h 6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328" h="68988">
                      <a:moveTo>
                        <a:pt x="58329" y="63852"/>
                      </a:moveTo>
                      <a:cubicBezTo>
                        <a:pt x="28516" y="74139"/>
                        <a:pt x="8228" y="68805"/>
                        <a:pt x="1465" y="49374"/>
                      </a:cubicBezTo>
                      <a:cubicBezTo>
                        <a:pt x="-4441" y="32229"/>
                        <a:pt x="7561" y="15084"/>
                        <a:pt x="36517" y="4702"/>
                      </a:cubicBezTo>
                      <a:cubicBezTo>
                        <a:pt x="65949" y="-5490"/>
                        <a:pt x="86523" y="1558"/>
                        <a:pt x="92715" y="19370"/>
                      </a:cubicBezTo>
                      <a:cubicBezTo>
                        <a:pt x="99096" y="37849"/>
                        <a:pt x="86333" y="54136"/>
                        <a:pt x="58329" y="63852"/>
                      </a:cubicBezTo>
                      <a:close/>
                      <a:moveTo>
                        <a:pt x="40422" y="16608"/>
                      </a:moveTo>
                      <a:cubicBezTo>
                        <a:pt x="17562" y="24514"/>
                        <a:pt x="7085" y="36039"/>
                        <a:pt x="10800" y="46802"/>
                      </a:cubicBezTo>
                      <a:cubicBezTo>
                        <a:pt x="14991" y="58994"/>
                        <a:pt x="31183" y="59852"/>
                        <a:pt x="53662" y="52041"/>
                      </a:cubicBezTo>
                      <a:cubicBezTo>
                        <a:pt x="75284" y="44516"/>
                        <a:pt x="87571" y="34134"/>
                        <a:pt x="83285" y="21847"/>
                      </a:cubicBezTo>
                      <a:cubicBezTo>
                        <a:pt x="79665" y="11465"/>
                        <a:pt x="64330" y="8321"/>
                        <a:pt x="40422" y="166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88" name="Freeform: Shape 187">
                  <a:extLst>
                    <a:ext uri="{FF2B5EF4-FFF2-40B4-BE49-F238E27FC236}">
                      <a16:creationId xmlns:a16="http://schemas.microsoft.com/office/drawing/2014/main" id="{993DC3AB-2096-EC4E-F708-9FFA8F889003}"/>
                    </a:ext>
                  </a:extLst>
                </p:cNvPr>
                <p:cNvSpPr/>
                <p:nvPr/>
              </p:nvSpPr>
              <p:spPr>
                <a:xfrm>
                  <a:off x="7493133" y="3181944"/>
                  <a:ext cx="95653" cy="65084"/>
                </a:xfrm>
                <a:custGeom>
                  <a:avLst/>
                  <a:gdLst>
                    <a:gd name="connsiteX0" fmla="*/ 54572 w 95653"/>
                    <a:gd name="connsiteY0" fmla="*/ 63318 h 65084"/>
                    <a:gd name="connsiteX1" fmla="*/ 470 w 95653"/>
                    <a:gd name="connsiteY1" fmla="*/ 40457 h 65084"/>
                    <a:gd name="connsiteX2" fmla="*/ 41808 w 95653"/>
                    <a:gd name="connsiteY2" fmla="*/ 1595 h 65084"/>
                    <a:gd name="connsiteX3" fmla="*/ 95148 w 95653"/>
                    <a:gd name="connsiteY3" fmla="*/ 24551 h 65084"/>
                    <a:gd name="connsiteX4" fmla="*/ 54476 w 95653"/>
                    <a:gd name="connsiteY4" fmla="*/ 63318 h 65084"/>
                    <a:gd name="connsiteX5" fmla="*/ 43999 w 95653"/>
                    <a:gd name="connsiteY5" fmla="*/ 13978 h 65084"/>
                    <a:gd name="connsiteX6" fmla="*/ 10185 w 95653"/>
                    <a:gd name="connsiteY6" fmla="*/ 39410 h 65084"/>
                    <a:gd name="connsiteX7" fmla="*/ 51714 w 95653"/>
                    <a:gd name="connsiteY7" fmla="*/ 51030 h 65084"/>
                    <a:gd name="connsiteX8" fmla="*/ 85528 w 95653"/>
                    <a:gd name="connsiteY8" fmla="*/ 25599 h 65084"/>
                    <a:gd name="connsiteX9" fmla="*/ 43999 w 95653"/>
                    <a:gd name="connsiteY9" fmla="*/ 13978 h 6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653" h="65084">
                      <a:moveTo>
                        <a:pt x="54572" y="63318"/>
                      </a:moveTo>
                      <a:cubicBezTo>
                        <a:pt x="23520" y="69032"/>
                        <a:pt x="4280" y="60746"/>
                        <a:pt x="470" y="40457"/>
                      </a:cubicBezTo>
                      <a:cubicBezTo>
                        <a:pt x="-2864" y="22646"/>
                        <a:pt x="11614" y="7406"/>
                        <a:pt x="41808" y="1595"/>
                      </a:cubicBezTo>
                      <a:cubicBezTo>
                        <a:pt x="72479" y="-4119"/>
                        <a:pt x="91719" y="5977"/>
                        <a:pt x="95148" y="24551"/>
                      </a:cubicBezTo>
                      <a:cubicBezTo>
                        <a:pt x="98672" y="43791"/>
                        <a:pt x="83623" y="57983"/>
                        <a:pt x="54476" y="63318"/>
                      </a:cubicBezTo>
                      <a:close/>
                      <a:moveTo>
                        <a:pt x="43999" y="13978"/>
                      </a:moveTo>
                      <a:cubicBezTo>
                        <a:pt x="20282" y="18360"/>
                        <a:pt x="8090" y="28170"/>
                        <a:pt x="10185" y="39410"/>
                      </a:cubicBezTo>
                      <a:cubicBezTo>
                        <a:pt x="12566" y="52078"/>
                        <a:pt x="28378" y="55316"/>
                        <a:pt x="51714" y="51030"/>
                      </a:cubicBezTo>
                      <a:cubicBezTo>
                        <a:pt x="74193" y="46839"/>
                        <a:pt x="87909" y="38362"/>
                        <a:pt x="85528" y="25599"/>
                      </a:cubicBezTo>
                      <a:cubicBezTo>
                        <a:pt x="83528" y="14740"/>
                        <a:pt x="68859" y="9311"/>
                        <a:pt x="43999" y="139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89" name="Freeform: Shape 188">
                  <a:extLst>
                    <a:ext uri="{FF2B5EF4-FFF2-40B4-BE49-F238E27FC236}">
                      <a16:creationId xmlns:a16="http://schemas.microsoft.com/office/drawing/2014/main" id="{0EA6DEF1-80CB-FFBD-2095-91BEF734AE5E}"/>
                    </a:ext>
                  </a:extLst>
                </p:cNvPr>
                <p:cNvSpPr/>
                <p:nvPr/>
              </p:nvSpPr>
              <p:spPr>
                <a:xfrm>
                  <a:off x="7506747" y="3300412"/>
                  <a:ext cx="93630" cy="39528"/>
                </a:xfrm>
                <a:custGeom>
                  <a:avLst/>
                  <a:gdLst>
                    <a:gd name="connsiteX0" fmla="*/ 80677 w 93630"/>
                    <a:gd name="connsiteY0" fmla="*/ 18859 h 39528"/>
                    <a:gd name="connsiteX1" fmla="*/ 80677 w 93630"/>
                    <a:gd name="connsiteY1" fmla="*/ 18574 h 39528"/>
                    <a:gd name="connsiteX2" fmla="*/ 70295 w 93630"/>
                    <a:gd name="connsiteY2" fmla="*/ 3429 h 39528"/>
                    <a:gd name="connsiteX3" fmla="*/ 79534 w 93630"/>
                    <a:gd name="connsiteY3" fmla="*/ 0 h 39528"/>
                    <a:gd name="connsiteX4" fmla="*/ 92488 w 93630"/>
                    <a:gd name="connsiteY4" fmla="*/ 19050 h 39528"/>
                    <a:gd name="connsiteX5" fmla="*/ 93631 w 93630"/>
                    <a:gd name="connsiteY5" fmla="*/ 29718 h 39528"/>
                    <a:gd name="connsiteX6" fmla="*/ 1238 w 93630"/>
                    <a:gd name="connsiteY6" fmla="*/ 39529 h 39528"/>
                    <a:gd name="connsiteX7" fmla="*/ 0 w 93630"/>
                    <a:gd name="connsiteY7" fmla="*/ 27432 h 39528"/>
                    <a:gd name="connsiteX8" fmla="*/ 80772 w 93630"/>
                    <a:gd name="connsiteY8" fmla="*/ 18859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630" h="39528">
                      <a:moveTo>
                        <a:pt x="80677" y="18859"/>
                      </a:moveTo>
                      <a:lnTo>
                        <a:pt x="80677" y="18574"/>
                      </a:lnTo>
                      <a:cubicBezTo>
                        <a:pt x="80677" y="18574"/>
                        <a:pt x="70295" y="3429"/>
                        <a:pt x="70295" y="3429"/>
                      </a:cubicBezTo>
                      <a:lnTo>
                        <a:pt x="79534" y="0"/>
                      </a:lnTo>
                      <a:lnTo>
                        <a:pt x="92488" y="19050"/>
                      </a:lnTo>
                      <a:lnTo>
                        <a:pt x="93631" y="29718"/>
                      </a:lnTo>
                      <a:lnTo>
                        <a:pt x="1238" y="39529"/>
                      </a:lnTo>
                      <a:lnTo>
                        <a:pt x="0" y="27432"/>
                      </a:lnTo>
                      <a:lnTo>
                        <a:pt x="80772" y="188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90" name="Freeform: Shape 189">
                  <a:extLst>
                    <a:ext uri="{FF2B5EF4-FFF2-40B4-BE49-F238E27FC236}">
                      <a16:creationId xmlns:a16="http://schemas.microsoft.com/office/drawing/2014/main" id="{66E0F8B9-A262-0BB5-A225-2538D282C5B0}"/>
                    </a:ext>
                  </a:extLst>
                </p:cNvPr>
                <p:cNvSpPr/>
                <p:nvPr/>
              </p:nvSpPr>
              <p:spPr>
                <a:xfrm>
                  <a:off x="7508836" y="3405931"/>
                  <a:ext cx="96024" cy="63093"/>
                </a:xfrm>
                <a:custGeom>
                  <a:avLst/>
                  <a:gdLst>
                    <a:gd name="connsiteX0" fmla="*/ 49632 w 96024"/>
                    <a:gd name="connsiteY0" fmla="*/ 63073 h 63093"/>
                    <a:gd name="connsiteX1" fmla="*/ 6 w 96024"/>
                    <a:gd name="connsiteY1" fmla="*/ 31641 h 63093"/>
                    <a:gd name="connsiteX2" fmla="*/ 47155 w 96024"/>
                    <a:gd name="connsiteY2" fmla="*/ 18 h 63093"/>
                    <a:gd name="connsiteX3" fmla="*/ 96018 w 96024"/>
                    <a:gd name="connsiteY3" fmla="*/ 31450 h 63093"/>
                    <a:gd name="connsiteX4" fmla="*/ 49536 w 96024"/>
                    <a:gd name="connsiteY4" fmla="*/ 63073 h 63093"/>
                    <a:gd name="connsiteX5" fmla="*/ 47251 w 96024"/>
                    <a:gd name="connsiteY5" fmla="*/ 12686 h 63093"/>
                    <a:gd name="connsiteX6" fmla="*/ 9722 w 96024"/>
                    <a:gd name="connsiteY6" fmla="*/ 32212 h 63093"/>
                    <a:gd name="connsiteX7" fmla="*/ 48775 w 96024"/>
                    <a:gd name="connsiteY7" fmla="*/ 50500 h 63093"/>
                    <a:gd name="connsiteX8" fmla="*/ 86303 w 96024"/>
                    <a:gd name="connsiteY8" fmla="*/ 30974 h 63093"/>
                    <a:gd name="connsiteX9" fmla="*/ 47251 w 96024"/>
                    <a:gd name="connsiteY9" fmla="*/ 12686 h 6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024" h="63093">
                      <a:moveTo>
                        <a:pt x="49632" y="63073"/>
                      </a:moveTo>
                      <a:cubicBezTo>
                        <a:pt x="18104" y="63645"/>
                        <a:pt x="387" y="52215"/>
                        <a:pt x="6" y="31641"/>
                      </a:cubicBezTo>
                      <a:cubicBezTo>
                        <a:pt x="-374" y="13543"/>
                        <a:pt x="16485" y="875"/>
                        <a:pt x="47155" y="18"/>
                      </a:cubicBezTo>
                      <a:cubicBezTo>
                        <a:pt x="78302" y="-554"/>
                        <a:pt x="95733" y="12591"/>
                        <a:pt x="96018" y="31450"/>
                      </a:cubicBezTo>
                      <a:cubicBezTo>
                        <a:pt x="96400" y="50977"/>
                        <a:pt x="79159" y="62502"/>
                        <a:pt x="49536" y="63073"/>
                      </a:cubicBezTo>
                      <a:close/>
                      <a:moveTo>
                        <a:pt x="47251" y="12686"/>
                      </a:moveTo>
                      <a:cubicBezTo>
                        <a:pt x="23057" y="13162"/>
                        <a:pt x="9531" y="20782"/>
                        <a:pt x="9722" y="32212"/>
                      </a:cubicBezTo>
                      <a:cubicBezTo>
                        <a:pt x="10008" y="45071"/>
                        <a:pt x="25057" y="50977"/>
                        <a:pt x="48775" y="50500"/>
                      </a:cubicBezTo>
                      <a:cubicBezTo>
                        <a:pt x="71635" y="50119"/>
                        <a:pt x="86493" y="43928"/>
                        <a:pt x="86303" y="30974"/>
                      </a:cubicBezTo>
                      <a:cubicBezTo>
                        <a:pt x="86112" y="19925"/>
                        <a:pt x="72492" y="12210"/>
                        <a:pt x="47251" y="126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91" name="Freeform: Shape 190">
                  <a:extLst>
                    <a:ext uri="{FF2B5EF4-FFF2-40B4-BE49-F238E27FC236}">
                      <a16:creationId xmlns:a16="http://schemas.microsoft.com/office/drawing/2014/main" id="{DB6A6912-7781-45E8-D7D2-4BC123FE6EA9}"/>
                    </a:ext>
                  </a:extLst>
                </p:cNvPr>
                <p:cNvSpPr/>
                <p:nvPr/>
              </p:nvSpPr>
              <p:spPr>
                <a:xfrm>
                  <a:off x="7505413" y="3529392"/>
                  <a:ext cx="93249" cy="31432"/>
                </a:xfrm>
                <a:custGeom>
                  <a:avLst/>
                  <a:gdLst>
                    <a:gd name="connsiteX0" fmla="*/ 81629 w 93249"/>
                    <a:gd name="connsiteY0" fmla="*/ 18764 h 31432"/>
                    <a:gd name="connsiteX1" fmla="*/ 81629 w 93249"/>
                    <a:gd name="connsiteY1" fmla="*/ 18479 h 31432"/>
                    <a:gd name="connsiteX2" fmla="*/ 73628 w 93249"/>
                    <a:gd name="connsiteY2" fmla="*/ 2000 h 31432"/>
                    <a:gd name="connsiteX3" fmla="*/ 83344 w 93249"/>
                    <a:gd name="connsiteY3" fmla="*/ 0 h 31432"/>
                    <a:gd name="connsiteX4" fmla="*/ 93250 w 93249"/>
                    <a:gd name="connsiteY4" fmla="*/ 20765 h 31432"/>
                    <a:gd name="connsiteX5" fmla="*/ 92773 w 93249"/>
                    <a:gd name="connsiteY5" fmla="*/ 31433 h 31432"/>
                    <a:gd name="connsiteX6" fmla="*/ 0 w 93249"/>
                    <a:gd name="connsiteY6" fmla="*/ 27242 h 31432"/>
                    <a:gd name="connsiteX7" fmla="*/ 571 w 93249"/>
                    <a:gd name="connsiteY7" fmla="*/ 15145 h 31432"/>
                    <a:gd name="connsiteX8" fmla="*/ 81629 w 93249"/>
                    <a:gd name="connsiteY8" fmla="*/ 18764 h 3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249" h="31432">
                      <a:moveTo>
                        <a:pt x="81629" y="18764"/>
                      </a:moveTo>
                      <a:lnTo>
                        <a:pt x="81629" y="18479"/>
                      </a:lnTo>
                      <a:cubicBezTo>
                        <a:pt x="81629" y="18479"/>
                        <a:pt x="73628" y="2000"/>
                        <a:pt x="73628" y="2000"/>
                      </a:cubicBezTo>
                      <a:lnTo>
                        <a:pt x="83344" y="0"/>
                      </a:lnTo>
                      <a:lnTo>
                        <a:pt x="93250" y="20765"/>
                      </a:lnTo>
                      <a:lnTo>
                        <a:pt x="92773" y="31433"/>
                      </a:lnTo>
                      <a:lnTo>
                        <a:pt x="0" y="27242"/>
                      </a:lnTo>
                      <a:lnTo>
                        <a:pt x="571" y="15145"/>
                      </a:lnTo>
                      <a:lnTo>
                        <a:pt x="81629" y="1876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92" name="Freeform: Shape 191">
                  <a:extLst>
                    <a:ext uri="{FF2B5EF4-FFF2-40B4-BE49-F238E27FC236}">
                      <a16:creationId xmlns:a16="http://schemas.microsoft.com/office/drawing/2014/main" id="{C38CC164-5F7A-B7DC-8ADC-2A0489AF6919}"/>
                    </a:ext>
                  </a:extLst>
                </p:cNvPr>
                <p:cNvSpPr/>
                <p:nvPr/>
              </p:nvSpPr>
              <p:spPr>
                <a:xfrm>
                  <a:off x="7491160" y="3628999"/>
                  <a:ext cx="95533" cy="64154"/>
                </a:xfrm>
                <a:custGeom>
                  <a:avLst/>
                  <a:gdLst>
                    <a:gd name="connsiteX0" fmla="*/ 45019 w 95533"/>
                    <a:gd name="connsiteY0" fmla="*/ 63367 h 64154"/>
                    <a:gd name="connsiteX1" fmla="*/ 251 w 95533"/>
                    <a:gd name="connsiteY1" fmla="*/ 25362 h 64154"/>
                    <a:gd name="connsiteX2" fmla="*/ 51305 w 95533"/>
                    <a:gd name="connsiteY2" fmla="*/ 692 h 64154"/>
                    <a:gd name="connsiteX3" fmla="*/ 95311 w 95533"/>
                    <a:gd name="connsiteY3" fmla="*/ 38602 h 64154"/>
                    <a:gd name="connsiteX4" fmla="*/ 44923 w 95533"/>
                    <a:gd name="connsiteY4" fmla="*/ 63367 h 64154"/>
                    <a:gd name="connsiteX5" fmla="*/ 49686 w 95533"/>
                    <a:gd name="connsiteY5" fmla="*/ 13075 h 64154"/>
                    <a:gd name="connsiteX6" fmla="*/ 9776 w 95533"/>
                    <a:gd name="connsiteY6" fmla="*/ 27172 h 64154"/>
                    <a:gd name="connsiteX7" fmla="*/ 45876 w 95533"/>
                    <a:gd name="connsiteY7" fmla="*/ 50699 h 64154"/>
                    <a:gd name="connsiteX8" fmla="*/ 85786 w 95533"/>
                    <a:gd name="connsiteY8" fmla="*/ 36601 h 64154"/>
                    <a:gd name="connsiteX9" fmla="*/ 49686 w 95533"/>
                    <a:gd name="connsiteY9" fmla="*/ 13075 h 64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533" h="64154">
                      <a:moveTo>
                        <a:pt x="45019" y="63367"/>
                      </a:moveTo>
                      <a:cubicBezTo>
                        <a:pt x="13681" y="59557"/>
                        <a:pt x="-2225" y="45841"/>
                        <a:pt x="251" y="25362"/>
                      </a:cubicBezTo>
                      <a:cubicBezTo>
                        <a:pt x="2442" y="7360"/>
                        <a:pt x="20825" y="-2832"/>
                        <a:pt x="51305" y="692"/>
                      </a:cubicBezTo>
                      <a:cubicBezTo>
                        <a:pt x="82261" y="4502"/>
                        <a:pt x="97597" y="19837"/>
                        <a:pt x="95311" y="38602"/>
                      </a:cubicBezTo>
                      <a:cubicBezTo>
                        <a:pt x="92930" y="58033"/>
                        <a:pt x="74260" y="66986"/>
                        <a:pt x="44923" y="63367"/>
                      </a:cubicBezTo>
                      <a:close/>
                      <a:moveTo>
                        <a:pt x="49686" y="13075"/>
                      </a:moveTo>
                      <a:cubicBezTo>
                        <a:pt x="25683" y="10122"/>
                        <a:pt x="11205" y="15837"/>
                        <a:pt x="9776" y="27172"/>
                      </a:cubicBezTo>
                      <a:cubicBezTo>
                        <a:pt x="8252" y="39935"/>
                        <a:pt x="22349" y="47841"/>
                        <a:pt x="45876" y="50699"/>
                      </a:cubicBezTo>
                      <a:cubicBezTo>
                        <a:pt x="68546" y="53461"/>
                        <a:pt x="84166" y="49460"/>
                        <a:pt x="85786" y="36601"/>
                      </a:cubicBezTo>
                      <a:cubicBezTo>
                        <a:pt x="87119" y="25648"/>
                        <a:pt x="74737" y="16123"/>
                        <a:pt x="49686" y="1307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93" name="Freeform: Shape 192">
                  <a:extLst>
                    <a:ext uri="{FF2B5EF4-FFF2-40B4-BE49-F238E27FC236}">
                      <a16:creationId xmlns:a16="http://schemas.microsoft.com/office/drawing/2014/main" id="{50518A8E-987C-AC90-C953-7D13B2200AE5}"/>
                    </a:ext>
                  </a:extLst>
                </p:cNvPr>
                <p:cNvSpPr/>
                <p:nvPr/>
              </p:nvSpPr>
              <p:spPr>
                <a:xfrm>
                  <a:off x="7470076" y="3756469"/>
                  <a:ext cx="93154" cy="32480"/>
                </a:xfrm>
                <a:custGeom>
                  <a:avLst/>
                  <a:gdLst>
                    <a:gd name="connsiteX0" fmla="*/ 81915 w 93154"/>
                    <a:gd name="connsiteY0" fmla="*/ 18288 h 32480"/>
                    <a:gd name="connsiteX1" fmla="*/ 81915 w 93154"/>
                    <a:gd name="connsiteY1" fmla="*/ 18002 h 32480"/>
                    <a:gd name="connsiteX2" fmla="*/ 76581 w 93154"/>
                    <a:gd name="connsiteY2" fmla="*/ 476 h 32480"/>
                    <a:gd name="connsiteX3" fmla="*/ 86487 w 93154"/>
                    <a:gd name="connsiteY3" fmla="*/ 0 h 32480"/>
                    <a:gd name="connsiteX4" fmla="*/ 93154 w 93154"/>
                    <a:gd name="connsiteY4" fmla="*/ 22003 h 32480"/>
                    <a:gd name="connsiteX5" fmla="*/ 91059 w 93154"/>
                    <a:gd name="connsiteY5" fmla="*/ 32480 h 32480"/>
                    <a:gd name="connsiteX6" fmla="*/ 0 w 93154"/>
                    <a:gd name="connsiteY6" fmla="*/ 14192 h 32480"/>
                    <a:gd name="connsiteX7" fmla="*/ 2381 w 93154"/>
                    <a:gd name="connsiteY7" fmla="*/ 2286 h 32480"/>
                    <a:gd name="connsiteX8" fmla="*/ 81915 w 93154"/>
                    <a:gd name="connsiteY8" fmla="*/ 18288 h 3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154" h="32480">
                      <a:moveTo>
                        <a:pt x="81915" y="18288"/>
                      </a:moveTo>
                      <a:lnTo>
                        <a:pt x="81915" y="18002"/>
                      </a:lnTo>
                      <a:cubicBezTo>
                        <a:pt x="81915" y="18002"/>
                        <a:pt x="76581" y="476"/>
                        <a:pt x="76581" y="476"/>
                      </a:cubicBezTo>
                      <a:lnTo>
                        <a:pt x="86487" y="0"/>
                      </a:lnTo>
                      <a:lnTo>
                        <a:pt x="93154" y="22003"/>
                      </a:lnTo>
                      <a:lnTo>
                        <a:pt x="91059" y="32480"/>
                      </a:lnTo>
                      <a:lnTo>
                        <a:pt x="0" y="14192"/>
                      </a:lnTo>
                      <a:lnTo>
                        <a:pt x="2381" y="2286"/>
                      </a:lnTo>
                      <a:lnTo>
                        <a:pt x="81915" y="1828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94" name="Freeform: Shape 193">
                  <a:extLst>
                    <a:ext uri="{FF2B5EF4-FFF2-40B4-BE49-F238E27FC236}">
                      <a16:creationId xmlns:a16="http://schemas.microsoft.com/office/drawing/2014/main" id="{256953CE-0E33-C6C5-8A4C-90828F72A7F3}"/>
                    </a:ext>
                  </a:extLst>
                </p:cNvPr>
                <p:cNvSpPr/>
                <p:nvPr/>
              </p:nvSpPr>
              <p:spPr>
                <a:xfrm>
                  <a:off x="7439881" y="3844982"/>
                  <a:ext cx="94265" cy="67742"/>
                </a:xfrm>
                <a:custGeom>
                  <a:avLst/>
                  <a:gdLst>
                    <a:gd name="connsiteX0" fmla="*/ 39625 w 94265"/>
                    <a:gd name="connsiteY0" fmla="*/ 64363 h 67742"/>
                    <a:gd name="connsiteX1" fmla="*/ 1239 w 94265"/>
                    <a:gd name="connsiteY1" fmla="*/ 19881 h 67742"/>
                    <a:gd name="connsiteX2" fmla="*/ 55531 w 94265"/>
                    <a:gd name="connsiteY2" fmla="*/ 3307 h 67742"/>
                    <a:gd name="connsiteX3" fmla="*/ 93155 w 94265"/>
                    <a:gd name="connsiteY3" fmla="*/ 47503 h 67742"/>
                    <a:gd name="connsiteX4" fmla="*/ 39529 w 94265"/>
                    <a:gd name="connsiteY4" fmla="*/ 64267 h 67742"/>
                    <a:gd name="connsiteX5" fmla="*/ 52007 w 94265"/>
                    <a:gd name="connsiteY5" fmla="*/ 15404 h 67742"/>
                    <a:gd name="connsiteX6" fmla="*/ 10478 w 94265"/>
                    <a:gd name="connsiteY6" fmla="*/ 23215 h 67742"/>
                    <a:gd name="connsiteX7" fmla="*/ 42577 w 94265"/>
                    <a:gd name="connsiteY7" fmla="*/ 52075 h 67742"/>
                    <a:gd name="connsiteX8" fmla="*/ 84202 w 94265"/>
                    <a:gd name="connsiteY8" fmla="*/ 44265 h 67742"/>
                    <a:gd name="connsiteX9" fmla="*/ 52102 w 94265"/>
                    <a:gd name="connsiteY9" fmla="*/ 15404 h 6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65" h="67742">
                      <a:moveTo>
                        <a:pt x="39625" y="64363"/>
                      </a:moveTo>
                      <a:cubicBezTo>
                        <a:pt x="9240" y="55790"/>
                        <a:pt x="-4381" y="39693"/>
                        <a:pt x="1239" y="19881"/>
                      </a:cubicBezTo>
                      <a:cubicBezTo>
                        <a:pt x="6192" y="2450"/>
                        <a:pt x="25909" y="-4789"/>
                        <a:pt x="55531" y="3307"/>
                      </a:cubicBezTo>
                      <a:cubicBezTo>
                        <a:pt x="85535" y="11785"/>
                        <a:pt x="98299" y="29406"/>
                        <a:pt x="93155" y="47503"/>
                      </a:cubicBezTo>
                      <a:cubicBezTo>
                        <a:pt x="87821" y="66363"/>
                        <a:pt x="68009" y="72268"/>
                        <a:pt x="39529" y="64267"/>
                      </a:cubicBezTo>
                      <a:close/>
                      <a:moveTo>
                        <a:pt x="52007" y="15404"/>
                      </a:moveTo>
                      <a:cubicBezTo>
                        <a:pt x="28766" y="8832"/>
                        <a:pt x="13526" y="12261"/>
                        <a:pt x="10478" y="23215"/>
                      </a:cubicBezTo>
                      <a:cubicBezTo>
                        <a:pt x="6954" y="35597"/>
                        <a:pt x="19717" y="45598"/>
                        <a:pt x="42577" y="52075"/>
                      </a:cubicBezTo>
                      <a:cubicBezTo>
                        <a:pt x="64580" y="58267"/>
                        <a:pt x="80582" y="56743"/>
                        <a:pt x="84202" y="44265"/>
                      </a:cubicBezTo>
                      <a:cubicBezTo>
                        <a:pt x="87250" y="33692"/>
                        <a:pt x="76486" y="22357"/>
                        <a:pt x="52102" y="1540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95" name="Freeform: Shape 194">
                  <a:extLst>
                    <a:ext uri="{FF2B5EF4-FFF2-40B4-BE49-F238E27FC236}">
                      <a16:creationId xmlns:a16="http://schemas.microsoft.com/office/drawing/2014/main" id="{04FD7CA0-DB85-65EA-E9C1-E93EC02DE6A8}"/>
                    </a:ext>
                  </a:extLst>
                </p:cNvPr>
                <p:cNvSpPr/>
                <p:nvPr/>
              </p:nvSpPr>
              <p:spPr>
                <a:xfrm>
                  <a:off x="7402067" y="3965161"/>
                  <a:ext cx="90773" cy="43529"/>
                </a:xfrm>
                <a:custGeom>
                  <a:avLst/>
                  <a:gdLst>
                    <a:gd name="connsiteX0" fmla="*/ 80296 w 90773"/>
                    <a:gd name="connsiteY0" fmla="*/ 28099 h 43529"/>
                    <a:gd name="connsiteX1" fmla="*/ 80296 w 90773"/>
                    <a:gd name="connsiteY1" fmla="*/ 27813 h 43529"/>
                    <a:gd name="connsiteX2" fmla="*/ 77819 w 90773"/>
                    <a:gd name="connsiteY2" fmla="*/ 9620 h 43529"/>
                    <a:gd name="connsiteX3" fmla="*/ 87630 w 90773"/>
                    <a:gd name="connsiteY3" fmla="*/ 10668 h 43529"/>
                    <a:gd name="connsiteX4" fmla="*/ 90773 w 90773"/>
                    <a:gd name="connsiteY4" fmla="*/ 33433 h 43529"/>
                    <a:gd name="connsiteX5" fmla="*/ 87059 w 90773"/>
                    <a:gd name="connsiteY5" fmla="*/ 43529 h 43529"/>
                    <a:gd name="connsiteX6" fmla="*/ 0 w 90773"/>
                    <a:gd name="connsiteY6" fmla="*/ 11430 h 43529"/>
                    <a:gd name="connsiteX7" fmla="*/ 4191 w 90773"/>
                    <a:gd name="connsiteY7" fmla="*/ 0 h 43529"/>
                    <a:gd name="connsiteX8" fmla="*/ 80296 w 90773"/>
                    <a:gd name="connsiteY8" fmla="*/ 28099 h 4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773" h="43529">
                      <a:moveTo>
                        <a:pt x="80296" y="28099"/>
                      </a:moveTo>
                      <a:lnTo>
                        <a:pt x="80296" y="27813"/>
                      </a:lnTo>
                      <a:cubicBezTo>
                        <a:pt x="80296" y="27813"/>
                        <a:pt x="77819" y="9620"/>
                        <a:pt x="77819" y="9620"/>
                      </a:cubicBezTo>
                      <a:lnTo>
                        <a:pt x="87630" y="10668"/>
                      </a:lnTo>
                      <a:lnTo>
                        <a:pt x="90773" y="33433"/>
                      </a:lnTo>
                      <a:lnTo>
                        <a:pt x="87059" y="43529"/>
                      </a:lnTo>
                      <a:lnTo>
                        <a:pt x="0" y="11430"/>
                      </a:lnTo>
                      <a:lnTo>
                        <a:pt x="4191" y="0"/>
                      </a:lnTo>
                      <a:lnTo>
                        <a:pt x="80296" y="2809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96" name="Freeform: Shape 195">
                  <a:extLst>
                    <a:ext uri="{FF2B5EF4-FFF2-40B4-BE49-F238E27FC236}">
                      <a16:creationId xmlns:a16="http://schemas.microsoft.com/office/drawing/2014/main" id="{992F1DF2-59CC-D5ED-C852-B0EEB5C852A9}"/>
                    </a:ext>
                  </a:extLst>
                </p:cNvPr>
                <p:cNvSpPr/>
                <p:nvPr/>
              </p:nvSpPr>
              <p:spPr>
                <a:xfrm>
                  <a:off x="7356374" y="4049716"/>
                  <a:ext cx="92071" cy="72762"/>
                </a:xfrm>
                <a:custGeom>
                  <a:avLst/>
                  <a:gdLst>
                    <a:gd name="connsiteX0" fmla="*/ 33977 w 92071"/>
                    <a:gd name="connsiteY0" fmla="*/ 65178 h 72762"/>
                    <a:gd name="connsiteX1" fmla="*/ 2830 w 92071"/>
                    <a:gd name="connsiteY1" fmla="*/ 15362 h 72762"/>
                    <a:gd name="connsiteX2" fmla="*/ 59028 w 92071"/>
                    <a:gd name="connsiteY2" fmla="*/ 7361 h 72762"/>
                    <a:gd name="connsiteX3" fmla="*/ 89508 w 92071"/>
                    <a:gd name="connsiteY3" fmla="*/ 56891 h 72762"/>
                    <a:gd name="connsiteX4" fmla="*/ 33977 w 92071"/>
                    <a:gd name="connsiteY4" fmla="*/ 65273 h 72762"/>
                    <a:gd name="connsiteX5" fmla="*/ 53694 w 92071"/>
                    <a:gd name="connsiteY5" fmla="*/ 18696 h 72762"/>
                    <a:gd name="connsiteX6" fmla="*/ 11403 w 92071"/>
                    <a:gd name="connsiteY6" fmla="*/ 20030 h 72762"/>
                    <a:gd name="connsiteX7" fmla="*/ 38740 w 92071"/>
                    <a:gd name="connsiteY7" fmla="*/ 53462 h 72762"/>
                    <a:gd name="connsiteX8" fmla="*/ 81030 w 92071"/>
                    <a:gd name="connsiteY8" fmla="*/ 52129 h 72762"/>
                    <a:gd name="connsiteX9" fmla="*/ 53789 w 92071"/>
                    <a:gd name="connsiteY9" fmla="*/ 18696 h 7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071" h="72762">
                      <a:moveTo>
                        <a:pt x="33977" y="65178"/>
                      </a:moveTo>
                      <a:cubicBezTo>
                        <a:pt x="5307" y="52034"/>
                        <a:pt x="-5742" y="34126"/>
                        <a:pt x="2830" y="15362"/>
                      </a:cubicBezTo>
                      <a:cubicBezTo>
                        <a:pt x="10355" y="-1116"/>
                        <a:pt x="31024" y="-5212"/>
                        <a:pt x="59028" y="7361"/>
                      </a:cubicBezTo>
                      <a:cubicBezTo>
                        <a:pt x="87317" y="20315"/>
                        <a:pt x="97318" y="39746"/>
                        <a:pt x="89508" y="56891"/>
                      </a:cubicBezTo>
                      <a:cubicBezTo>
                        <a:pt x="81316" y="74703"/>
                        <a:pt x="60837" y="77560"/>
                        <a:pt x="33977" y="65273"/>
                      </a:cubicBezTo>
                      <a:close/>
                      <a:moveTo>
                        <a:pt x="53694" y="18696"/>
                      </a:moveTo>
                      <a:cubicBezTo>
                        <a:pt x="31691" y="8600"/>
                        <a:pt x="16165" y="9647"/>
                        <a:pt x="11403" y="20030"/>
                      </a:cubicBezTo>
                      <a:cubicBezTo>
                        <a:pt x="6069" y="31745"/>
                        <a:pt x="17118" y="43556"/>
                        <a:pt x="38740" y="53462"/>
                      </a:cubicBezTo>
                      <a:cubicBezTo>
                        <a:pt x="59504" y="62987"/>
                        <a:pt x="75601" y="63940"/>
                        <a:pt x="81030" y="52129"/>
                      </a:cubicBezTo>
                      <a:cubicBezTo>
                        <a:pt x="85602" y="42127"/>
                        <a:pt x="76744" y="29269"/>
                        <a:pt x="53789" y="1869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97" name="Freeform: Shape 196">
                  <a:extLst>
                    <a:ext uri="{FF2B5EF4-FFF2-40B4-BE49-F238E27FC236}">
                      <a16:creationId xmlns:a16="http://schemas.microsoft.com/office/drawing/2014/main" id="{CDFA038B-BF4B-A66D-A4C1-E962A5C1E8CC}"/>
                    </a:ext>
                  </a:extLst>
                </p:cNvPr>
                <p:cNvSpPr/>
                <p:nvPr/>
              </p:nvSpPr>
              <p:spPr>
                <a:xfrm>
                  <a:off x="7303388" y="4158804"/>
                  <a:ext cx="86772" cy="55625"/>
                </a:xfrm>
                <a:custGeom>
                  <a:avLst/>
                  <a:gdLst>
                    <a:gd name="connsiteX0" fmla="*/ 76867 w 86772"/>
                    <a:gd name="connsiteY0" fmla="*/ 39434 h 55625"/>
                    <a:gd name="connsiteX1" fmla="*/ 76867 w 86772"/>
                    <a:gd name="connsiteY1" fmla="*/ 39148 h 55625"/>
                    <a:gd name="connsiteX2" fmla="*/ 77248 w 86772"/>
                    <a:gd name="connsiteY2" fmla="*/ 20860 h 55625"/>
                    <a:gd name="connsiteX3" fmla="*/ 86773 w 86772"/>
                    <a:gd name="connsiteY3" fmla="*/ 23336 h 55625"/>
                    <a:gd name="connsiteX4" fmla="*/ 86392 w 86772"/>
                    <a:gd name="connsiteY4" fmla="*/ 46292 h 55625"/>
                    <a:gd name="connsiteX5" fmla="*/ 81153 w 86772"/>
                    <a:gd name="connsiteY5" fmla="*/ 55626 h 55625"/>
                    <a:gd name="connsiteX6" fmla="*/ 0 w 86772"/>
                    <a:gd name="connsiteY6" fmla="*/ 10573 h 55625"/>
                    <a:gd name="connsiteX7" fmla="*/ 5905 w 86772"/>
                    <a:gd name="connsiteY7" fmla="*/ 0 h 55625"/>
                    <a:gd name="connsiteX8" fmla="*/ 76867 w 86772"/>
                    <a:gd name="connsiteY8" fmla="*/ 39338 h 5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72" h="55625">
                      <a:moveTo>
                        <a:pt x="76867" y="39434"/>
                      </a:moveTo>
                      <a:lnTo>
                        <a:pt x="76867" y="39148"/>
                      </a:lnTo>
                      <a:cubicBezTo>
                        <a:pt x="76867" y="39148"/>
                        <a:pt x="77248" y="20860"/>
                        <a:pt x="77248" y="20860"/>
                      </a:cubicBezTo>
                      <a:lnTo>
                        <a:pt x="86773" y="23336"/>
                      </a:lnTo>
                      <a:lnTo>
                        <a:pt x="86392" y="46292"/>
                      </a:lnTo>
                      <a:lnTo>
                        <a:pt x="81153" y="55626"/>
                      </a:lnTo>
                      <a:lnTo>
                        <a:pt x="0" y="10573"/>
                      </a:lnTo>
                      <a:lnTo>
                        <a:pt x="5905" y="0"/>
                      </a:lnTo>
                      <a:lnTo>
                        <a:pt x="76867" y="393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98" name="Freeform: Shape 197">
                  <a:extLst>
                    <a:ext uri="{FF2B5EF4-FFF2-40B4-BE49-F238E27FC236}">
                      <a16:creationId xmlns:a16="http://schemas.microsoft.com/office/drawing/2014/main" id="{579D7196-2040-95F4-7DA5-48FAA9712060}"/>
                    </a:ext>
                  </a:extLst>
                </p:cNvPr>
                <p:cNvSpPr/>
                <p:nvPr/>
              </p:nvSpPr>
              <p:spPr>
                <a:xfrm>
                  <a:off x="7242391" y="4239124"/>
                  <a:ext cx="88876" cy="77868"/>
                </a:xfrm>
                <a:custGeom>
                  <a:avLst/>
                  <a:gdLst>
                    <a:gd name="connsiteX0" fmla="*/ 28040 w 88876"/>
                    <a:gd name="connsiteY0" fmla="*/ 65508 h 77868"/>
                    <a:gd name="connsiteX1" fmla="*/ 4990 w 88876"/>
                    <a:gd name="connsiteY1" fmla="*/ 11597 h 77868"/>
                    <a:gd name="connsiteX2" fmla="*/ 61759 w 88876"/>
                    <a:gd name="connsiteY2" fmla="*/ 12264 h 77868"/>
                    <a:gd name="connsiteX3" fmla="*/ 84238 w 88876"/>
                    <a:gd name="connsiteY3" fmla="*/ 65794 h 77868"/>
                    <a:gd name="connsiteX4" fmla="*/ 28136 w 88876"/>
                    <a:gd name="connsiteY4" fmla="*/ 65508 h 77868"/>
                    <a:gd name="connsiteX5" fmla="*/ 54615 w 88876"/>
                    <a:gd name="connsiteY5" fmla="*/ 22646 h 77868"/>
                    <a:gd name="connsiteX6" fmla="*/ 12610 w 88876"/>
                    <a:gd name="connsiteY6" fmla="*/ 17502 h 77868"/>
                    <a:gd name="connsiteX7" fmla="*/ 34422 w 88876"/>
                    <a:gd name="connsiteY7" fmla="*/ 54745 h 77868"/>
                    <a:gd name="connsiteX8" fmla="*/ 76428 w 88876"/>
                    <a:gd name="connsiteY8" fmla="*/ 59889 h 77868"/>
                    <a:gd name="connsiteX9" fmla="*/ 54615 w 88876"/>
                    <a:gd name="connsiteY9" fmla="*/ 22646 h 7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876" h="77868">
                      <a:moveTo>
                        <a:pt x="28040" y="65508"/>
                      </a:moveTo>
                      <a:cubicBezTo>
                        <a:pt x="1752" y="48078"/>
                        <a:pt x="-6345" y="28742"/>
                        <a:pt x="4990" y="11597"/>
                      </a:cubicBezTo>
                      <a:cubicBezTo>
                        <a:pt x="14991" y="-3548"/>
                        <a:pt x="35946" y="-4405"/>
                        <a:pt x="61759" y="12264"/>
                      </a:cubicBezTo>
                      <a:cubicBezTo>
                        <a:pt x="87762" y="29409"/>
                        <a:pt x="94620" y="50078"/>
                        <a:pt x="84238" y="65794"/>
                      </a:cubicBezTo>
                      <a:cubicBezTo>
                        <a:pt x="73475" y="82082"/>
                        <a:pt x="52806" y="81796"/>
                        <a:pt x="28136" y="65508"/>
                      </a:cubicBezTo>
                      <a:close/>
                      <a:moveTo>
                        <a:pt x="54615" y="22646"/>
                      </a:moveTo>
                      <a:cubicBezTo>
                        <a:pt x="34518" y="9311"/>
                        <a:pt x="18897" y="7977"/>
                        <a:pt x="12610" y="17502"/>
                      </a:cubicBezTo>
                      <a:cubicBezTo>
                        <a:pt x="5562" y="28265"/>
                        <a:pt x="14610" y="41601"/>
                        <a:pt x="34422" y="54745"/>
                      </a:cubicBezTo>
                      <a:cubicBezTo>
                        <a:pt x="53472" y="67318"/>
                        <a:pt x="69284" y="70747"/>
                        <a:pt x="76428" y="59889"/>
                      </a:cubicBezTo>
                      <a:cubicBezTo>
                        <a:pt x="82523" y="50745"/>
                        <a:pt x="75665" y="36648"/>
                        <a:pt x="54615" y="226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99" name="Freeform: Shape 198">
                  <a:extLst>
                    <a:ext uri="{FF2B5EF4-FFF2-40B4-BE49-F238E27FC236}">
                      <a16:creationId xmlns:a16="http://schemas.microsoft.com/office/drawing/2014/main" id="{A4CC40E8-81AE-151E-1E6D-5F7D1ACBEC29}"/>
                    </a:ext>
                  </a:extLst>
                </p:cNvPr>
                <p:cNvSpPr/>
                <p:nvPr/>
              </p:nvSpPr>
              <p:spPr>
                <a:xfrm>
                  <a:off x="7103689" y="4405663"/>
                  <a:ext cx="84982" cy="82901"/>
                </a:xfrm>
                <a:custGeom>
                  <a:avLst/>
                  <a:gdLst>
                    <a:gd name="connsiteX0" fmla="*/ 22344 w 84982"/>
                    <a:gd name="connsiteY0" fmla="*/ 65276 h 82901"/>
                    <a:gd name="connsiteX1" fmla="*/ 7580 w 84982"/>
                    <a:gd name="connsiteY1" fmla="*/ 8506 h 82901"/>
                    <a:gd name="connsiteX2" fmla="*/ 63587 w 84982"/>
                    <a:gd name="connsiteY2" fmla="*/ 17651 h 82901"/>
                    <a:gd name="connsiteX3" fmla="*/ 77875 w 84982"/>
                    <a:gd name="connsiteY3" fmla="*/ 73943 h 82901"/>
                    <a:gd name="connsiteX4" fmla="*/ 22439 w 84982"/>
                    <a:gd name="connsiteY4" fmla="*/ 65276 h 82901"/>
                    <a:gd name="connsiteX5" fmla="*/ 55015 w 84982"/>
                    <a:gd name="connsiteY5" fmla="*/ 26890 h 82901"/>
                    <a:gd name="connsiteX6" fmla="*/ 14248 w 84982"/>
                    <a:gd name="connsiteY6" fmla="*/ 15555 h 82901"/>
                    <a:gd name="connsiteX7" fmla="*/ 30250 w 84982"/>
                    <a:gd name="connsiteY7" fmla="*/ 55560 h 82901"/>
                    <a:gd name="connsiteX8" fmla="*/ 71017 w 84982"/>
                    <a:gd name="connsiteY8" fmla="*/ 66895 h 82901"/>
                    <a:gd name="connsiteX9" fmla="*/ 55015 w 84982"/>
                    <a:gd name="connsiteY9" fmla="*/ 26890 h 82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982" h="82901">
                      <a:moveTo>
                        <a:pt x="22344" y="65276"/>
                      </a:moveTo>
                      <a:cubicBezTo>
                        <a:pt x="-1088" y="44130"/>
                        <a:pt x="-6231" y="23746"/>
                        <a:pt x="7580" y="8506"/>
                      </a:cubicBezTo>
                      <a:cubicBezTo>
                        <a:pt x="19772" y="-5019"/>
                        <a:pt x="40537" y="-2733"/>
                        <a:pt x="63587" y="17651"/>
                      </a:cubicBezTo>
                      <a:cubicBezTo>
                        <a:pt x="86733" y="38510"/>
                        <a:pt x="90448" y="59941"/>
                        <a:pt x="77875" y="73943"/>
                      </a:cubicBezTo>
                      <a:cubicBezTo>
                        <a:pt x="64730" y="88516"/>
                        <a:pt x="44347" y="85087"/>
                        <a:pt x="22439" y="65276"/>
                      </a:cubicBezTo>
                      <a:close/>
                      <a:moveTo>
                        <a:pt x="55015" y="26890"/>
                      </a:moveTo>
                      <a:cubicBezTo>
                        <a:pt x="37108" y="10697"/>
                        <a:pt x="21963" y="7078"/>
                        <a:pt x="14248" y="15555"/>
                      </a:cubicBezTo>
                      <a:cubicBezTo>
                        <a:pt x="5675" y="25080"/>
                        <a:pt x="12628" y="39748"/>
                        <a:pt x="30250" y="55560"/>
                      </a:cubicBezTo>
                      <a:cubicBezTo>
                        <a:pt x="47204" y="70895"/>
                        <a:pt x="62253" y="76515"/>
                        <a:pt x="71017" y="66895"/>
                      </a:cubicBezTo>
                      <a:cubicBezTo>
                        <a:pt x="78351" y="58703"/>
                        <a:pt x="73779" y="43844"/>
                        <a:pt x="55015" y="2689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00" name="Freeform: Shape 199">
                  <a:extLst>
                    <a:ext uri="{FF2B5EF4-FFF2-40B4-BE49-F238E27FC236}">
                      <a16:creationId xmlns:a16="http://schemas.microsoft.com/office/drawing/2014/main" id="{1553A06F-5FF0-2386-3A36-79BDE365326B}"/>
                    </a:ext>
                  </a:extLst>
                </p:cNvPr>
                <p:cNvSpPr/>
                <p:nvPr/>
              </p:nvSpPr>
              <p:spPr>
                <a:xfrm>
                  <a:off x="7026877" y="4488751"/>
                  <a:ext cx="78962" cy="75628"/>
                </a:xfrm>
                <a:custGeom>
                  <a:avLst/>
                  <a:gdLst>
                    <a:gd name="connsiteX0" fmla="*/ 64675 w 78962"/>
                    <a:gd name="connsiteY0" fmla="*/ 58769 h 75628"/>
                    <a:gd name="connsiteX1" fmla="*/ 64865 w 78962"/>
                    <a:gd name="connsiteY1" fmla="*/ 58579 h 75628"/>
                    <a:gd name="connsiteX2" fmla="*/ 70580 w 78962"/>
                    <a:gd name="connsiteY2" fmla="*/ 41148 h 75628"/>
                    <a:gd name="connsiteX3" fmla="*/ 78962 w 78962"/>
                    <a:gd name="connsiteY3" fmla="*/ 46387 h 75628"/>
                    <a:gd name="connsiteX4" fmla="*/ 71723 w 78962"/>
                    <a:gd name="connsiteY4" fmla="*/ 68199 h 75628"/>
                    <a:gd name="connsiteX5" fmla="*/ 64008 w 78962"/>
                    <a:gd name="connsiteY5" fmla="*/ 75629 h 75628"/>
                    <a:gd name="connsiteX6" fmla="*/ 0 w 78962"/>
                    <a:gd name="connsiteY6" fmla="*/ 8382 h 75628"/>
                    <a:gd name="connsiteX7" fmla="*/ 8763 w 78962"/>
                    <a:gd name="connsiteY7" fmla="*/ 0 h 75628"/>
                    <a:gd name="connsiteX8" fmla="*/ 64770 w 78962"/>
                    <a:gd name="connsiteY8" fmla="*/ 58769 h 7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62" h="75628">
                      <a:moveTo>
                        <a:pt x="64675" y="58769"/>
                      </a:moveTo>
                      <a:lnTo>
                        <a:pt x="64865" y="58579"/>
                      </a:lnTo>
                      <a:lnTo>
                        <a:pt x="70580" y="41148"/>
                      </a:lnTo>
                      <a:lnTo>
                        <a:pt x="78962" y="46387"/>
                      </a:lnTo>
                      <a:lnTo>
                        <a:pt x="71723" y="68199"/>
                      </a:lnTo>
                      <a:lnTo>
                        <a:pt x="64008" y="75629"/>
                      </a:lnTo>
                      <a:lnTo>
                        <a:pt x="0" y="8382"/>
                      </a:lnTo>
                      <a:lnTo>
                        <a:pt x="8763" y="0"/>
                      </a:lnTo>
                      <a:lnTo>
                        <a:pt x="64770" y="587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01" name="Freeform: Shape 200">
                  <a:extLst>
                    <a:ext uri="{FF2B5EF4-FFF2-40B4-BE49-F238E27FC236}">
                      <a16:creationId xmlns:a16="http://schemas.microsoft.com/office/drawing/2014/main" id="{4F81C70E-F0B1-5DAD-E96A-64E5578D9DC6}"/>
                    </a:ext>
                  </a:extLst>
                </p:cNvPr>
                <p:cNvSpPr/>
                <p:nvPr/>
              </p:nvSpPr>
              <p:spPr>
                <a:xfrm>
                  <a:off x="6938715" y="4551883"/>
                  <a:ext cx="80390" cy="87358"/>
                </a:xfrm>
                <a:custGeom>
                  <a:avLst/>
                  <a:gdLst>
                    <a:gd name="connsiteX0" fmla="*/ 16630 w 80390"/>
                    <a:gd name="connsiteY0" fmla="*/ 64216 h 87358"/>
                    <a:gd name="connsiteX1" fmla="*/ 10629 w 80390"/>
                    <a:gd name="connsiteY1" fmla="*/ 5828 h 87358"/>
                    <a:gd name="connsiteX2" fmla="*/ 64636 w 80390"/>
                    <a:gd name="connsiteY2" fmla="*/ 23354 h 87358"/>
                    <a:gd name="connsiteX3" fmla="*/ 70160 w 80390"/>
                    <a:gd name="connsiteY3" fmla="*/ 81171 h 87358"/>
                    <a:gd name="connsiteX4" fmla="*/ 16630 w 80390"/>
                    <a:gd name="connsiteY4" fmla="*/ 64216 h 87358"/>
                    <a:gd name="connsiteX5" fmla="*/ 54730 w 80390"/>
                    <a:gd name="connsiteY5" fmla="*/ 31165 h 87358"/>
                    <a:gd name="connsiteX6" fmla="*/ 16153 w 80390"/>
                    <a:gd name="connsiteY6" fmla="*/ 13829 h 87358"/>
                    <a:gd name="connsiteX7" fmla="*/ 25964 w 80390"/>
                    <a:gd name="connsiteY7" fmla="*/ 55834 h 87358"/>
                    <a:gd name="connsiteX8" fmla="*/ 64540 w 80390"/>
                    <a:gd name="connsiteY8" fmla="*/ 73170 h 87358"/>
                    <a:gd name="connsiteX9" fmla="*/ 54730 w 80390"/>
                    <a:gd name="connsiteY9" fmla="*/ 31165 h 87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390" h="87358">
                      <a:moveTo>
                        <a:pt x="16630" y="64216"/>
                      </a:moveTo>
                      <a:cubicBezTo>
                        <a:pt x="-3373" y="39737"/>
                        <a:pt x="-5278" y="18877"/>
                        <a:pt x="10629" y="5828"/>
                      </a:cubicBezTo>
                      <a:cubicBezTo>
                        <a:pt x="24631" y="-5697"/>
                        <a:pt x="44919" y="-268"/>
                        <a:pt x="64636" y="23354"/>
                      </a:cubicBezTo>
                      <a:cubicBezTo>
                        <a:pt x="84352" y="47452"/>
                        <a:pt x="84829" y="69265"/>
                        <a:pt x="70160" y="81171"/>
                      </a:cubicBezTo>
                      <a:cubicBezTo>
                        <a:pt x="55015" y="93553"/>
                        <a:pt x="35394" y="87076"/>
                        <a:pt x="16630" y="64216"/>
                      </a:cubicBezTo>
                      <a:close/>
                      <a:moveTo>
                        <a:pt x="54730" y="31165"/>
                      </a:moveTo>
                      <a:cubicBezTo>
                        <a:pt x="39489" y="12496"/>
                        <a:pt x="25012" y="6590"/>
                        <a:pt x="16153" y="13829"/>
                      </a:cubicBezTo>
                      <a:cubicBezTo>
                        <a:pt x="6247" y="21925"/>
                        <a:pt x="10914" y="37451"/>
                        <a:pt x="25964" y="55834"/>
                      </a:cubicBezTo>
                      <a:cubicBezTo>
                        <a:pt x="40442" y="73551"/>
                        <a:pt x="54444" y="81457"/>
                        <a:pt x="64540" y="73170"/>
                      </a:cubicBezTo>
                      <a:cubicBezTo>
                        <a:pt x="73018" y="66217"/>
                        <a:pt x="70731" y="50786"/>
                        <a:pt x="54730" y="3116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02" name="Freeform: Shape 201">
                  <a:extLst>
                    <a:ext uri="{FF2B5EF4-FFF2-40B4-BE49-F238E27FC236}">
                      <a16:creationId xmlns:a16="http://schemas.microsoft.com/office/drawing/2014/main" id="{D6F3C050-9CE3-E477-6693-1A11C572AF11}"/>
                    </a:ext>
                  </a:extLst>
                </p:cNvPr>
                <p:cNvSpPr/>
                <p:nvPr/>
              </p:nvSpPr>
              <p:spPr>
                <a:xfrm>
                  <a:off x="6853237" y="4620005"/>
                  <a:ext cx="72294" cy="83153"/>
                </a:xfrm>
                <a:custGeom>
                  <a:avLst/>
                  <a:gdLst>
                    <a:gd name="connsiteX0" fmla="*/ 56388 w 72294"/>
                    <a:gd name="connsiteY0" fmla="*/ 66675 h 83153"/>
                    <a:gd name="connsiteX1" fmla="*/ 56579 w 72294"/>
                    <a:gd name="connsiteY1" fmla="*/ 66484 h 83153"/>
                    <a:gd name="connsiteX2" fmla="*/ 64865 w 72294"/>
                    <a:gd name="connsiteY2" fmla="*/ 50101 h 83153"/>
                    <a:gd name="connsiteX3" fmla="*/ 72295 w 72294"/>
                    <a:gd name="connsiteY3" fmla="*/ 56579 h 83153"/>
                    <a:gd name="connsiteX4" fmla="*/ 61817 w 72294"/>
                    <a:gd name="connsiteY4" fmla="*/ 77057 h 83153"/>
                    <a:gd name="connsiteX5" fmla="*/ 53054 w 72294"/>
                    <a:gd name="connsiteY5" fmla="*/ 83153 h 83153"/>
                    <a:gd name="connsiteX6" fmla="*/ 0 w 72294"/>
                    <a:gd name="connsiteY6" fmla="*/ 6953 h 83153"/>
                    <a:gd name="connsiteX7" fmla="*/ 10001 w 72294"/>
                    <a:gd name="connsiteY7" fmla="*/ 0 h 83153"/>
                    <a:gd name="connsiteX8" fmla="*/ 56388 w 72294"/>
                    <a:gd name="connsiteY8" fmla="*/ 66675 h 83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294" h="83153">
                      <a:moveTo>
                        <a:pt x="56388" y="66675"/>
                      </a:moveTo>
                      <a:lnTo>
                        <a:pt x="56579" y="66484"/>
                      </a:lnTo>
                      <a:lnTo>
                        <a:pt x="64865" y="50101"/>
                      </a:lnTo>
                      <a:lnTo>
                        <a:pt x="72295" y="56579"/>
                      </a:lnTo>
                      <a:lnTo>
                        <a:pt x="61817" y="77057"/>
                      </a:lnTo>
                      <a:lnTo>
                        <a:pt x="53054" y="83153"/>
                      </a:lnTo>
                      <a:lnTo>
                        <a:pt x="0" y="6953"/>
                      </a:lnTo>
                      <a:lnTo>
                        <a:pt x="10001" y="0"/>
                      </a:lnTo>
                      <a:lnTo>
                        <a:pt x="56388" y="6667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03" name="Freeform: Shape 202">
                  <a:extLst>
                    <a:ext uri="{FF2B5EF4-FFF2-40B4-BE49-F238E27FC236}">
                      <a16:creationId xmlns:a16="http://schemas.microsoft.com/office/drawing/2014/main" id="{D4D39696-8C1E-FEA5-D19A-914881B3D282}"/>
                    </a:ext>
                  </a:extLst>
                </p:cNvPr>
                <p:cNvSpPr/>
                <p:nvPr/>
              </p:nvSpPr>
              <p:spPr>
                <a:xfrm>
                  <a:off x="6753056" y="4671543"/>
                  <a:ext cx="75292" cy="91025"/>
                </a:xfrm>
                <a:custGeom>
                  <a:avLst/>
                  <a:gdLst>
                    <a:gd name="connsiteX0" fmla="*/ 11217 w 75292"/>
                    <a:gd name="connsiteY0" fmla="*/ 62191 h 91025"/>
                    <a:gd name="connsiteX1" fmla="*/ 14170 w 75292"/>
                    <a:gd name="connsiteY1" fmla="*/ 3612 h 91025"/>
                    <a:gd name="connsiteX2" fmla="*/ 64843 w 75292"/>
                    <a:gd name="connsiteY2" fmla="*/ 29139 h 91025"/>
                    <a:gd name="connsiteX3" fmla="*/ 61509 w 75292"/>
                    <a:gd name="connsiteY3" fmla="*/ 87146 h 91025"/>
                    <a:gd name="connsiteX4" fmla="*/ 11217 w 75292"/>
                    <a:gd name="connsiteY4" fmla="*/ 62191 h 91025"/>
                    <a:gd name="connsiteX5" fmla="*/ 53984 w 75292"/>
                    <a:gd name="connsiteY5" fmla="*/ 35426 h 91025"/>
                    <a:gd name="connsiteX6" fmla="*/ 18551 w 75292"/>
                    <a:gd name="connsiteY6" fmla="*/ 12375 h 91025"/>
                    <a:gd name="connsiteX7" fmla="*/ 21790 w 75292"/>
                    <a:gd name="connsiteY7" fmla="*/ 55333 h 91025"/>
                    <a:gd name="connsiteX8" fmla="*/ 57223 w 75292"/>
                    <a:gd name="connsiteY8" fmla="*/ 78383 h 91025"/>
                    <a:gd name="connsiteX9" fmla="*/ 53984 w 75292"/>
                    <a:gd name="connsiteY9" fmla="*/ 35426 h 9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92" h="91025">
                      <a:moveTo>
                        <a:pt x="11217" y="62191"/>
                      </a:moveTo>
                      <a:cubicBezTo>
                        <a:pt x="-4785" y="34949"/>
                        <a:pt x="-3547" y="13995"/>
                        <a:pt x="14170" y="3612"/>
                      </a:cubicBezTo>
                      <a:cubicBezTo>
                        <a:pt x="29791" y="-5627"/>
                        <a:pt x="49031" y="2850"/>
                        <a:pt x="64843" y="29139"/>
                      </a:cubicBezTo>
                      <a:cubicBezTo>
                        <a:pt x="80654" y="56000"/>
                        <a:pt x="77701" y="77526"/>
                        <a:pt x="61509" y="87146"/>
                      </a:cubicBezTo>
                      <a:cubicBezTo>
                        <a:pt x="44650" y="97053"/>
                        <a:pt x="26171" y="87718"/>
                        <a:pt x="11217" y="62191"/>
                      </a:cubicBezTo>
                      <a:close/>
                      <a:moveTo>
                        <a:pt x="53984" y="35426"/>
                      </a:moveTo>
                      <a:cubicBezTo>
                        <a:pt x="41792" y="14661"/>
                        <a:pt x="28362" y="6565"/>
                        <a:pt x="18551" y="12375"/>
                      </a:cubicBezTo>
                      <a:cubicBezTo>
                        <a:pt x="7502" y="18852"/>
                        <a:pt x="9788" y="34949"/>
                        <a:pt x="21790" y="55333"/>
                      </a:cubicBezTo>
                      <a:cubicBezTo>
                        <a:pt x="33410" y="75050"/>
                        <a:pt x="45983" y="84956"/>
                        <a:pt x="57223" y="78383"/>
                      </a:cubicBezTo>
                      <a:cubicBezTo>
                        <a:pt x="66748" y="72859"/>
                        <a:pt x="66748" y="57143"/>
                        <a:pt x="53984" y="3542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04" name="Freeform: Shape 203">
                  <a:extLst>
                    <a:ext uri="{FF2B5EF4-FFF2-40B4-BE49-F238E27FC236}">
                      <a16:creationId xmlns:a16="http://schemas.microsoft.com/office/drawing/2014/main" id="{3DF6B614-9BBE-F492-3EB4-65A78AB92406}"/>
                    </a:ext>
                  </a:extLst>
                </p:cNvPr>
                <p:cNvSpPr/>
                <p:nvPr/>
              </p:nvSpPr>
              <p:spPr>
                <a:xfrm>
                  <a:off x="6554739" y="4760112"/>
                  <a:ext cx="70454" cy="93799"/>
                </a:xfrm>
                <a:custGeom>
                  <a:avLst/>
                  <a:gdLst>
                    <a:gd name="connsiteX0" fmla="*/ 6461 w 70454"/>
                    <a:gd name="connsiteY0" fmla="*/ 59441 h 93799"/>
                    <a:gd name="connsiteX1" fmla="*/ 18272 w 70454"/>
                    <a:gd name="connsiteY1" fmla="*/ 1911 h 93799"/>
                    <a:gd name="connsiteX2" fmla="*/ 64563 w 70454"/>
                    <a:gd name="connsiteY2" fmla="*/ 34867 h 93799"/>
                    <a:gd name="connsiteX3" fmla="*/ 52467 w 70454"/>
                    <a:gd name="connsiteY3" fmla="*/ 91731 h 93799"/>
                    <a:gd name="connsiteX4" fmla="*/ 6461 w 70454"/>
                    <a:gd name="connsiteY4" fmla="*/ 59441 h 93799"/>
                    <a:gd name="connsiteX5" fmla="*/ 52752 w 70454"/>
                    <a:gd name="connsiteY5" fmla="*/ 39344 h 93799"/>
                    <a:gd name="connsiteX6" fmla="*/ 21225 w 70454"/>
                    <a:gd name="connsiteY6" fmla="*/ 11150 h 93799"/>
                    <a:gd name="connsiteX7" fmla="*/ 17986 w 70454"/>
                    <a:gd name="connsiteY7" fmla="*/ 54203 h 93799"/>
                    <a:gd name="connsiteX8" fmla="*/ 49609 w 70454"/>
                    <a:gd name="connsiteY8" fmla="*/ 82397 h 93799"/>
                    <a:gd name="connsiteX9" fmla="*/ 52848 w 70454"/>
                    <a:gd name="connsiteY9" fmla="*/ 39344 h 9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454" h="93799">
                      <a:moveTo>
                        <a:pt x="6461" y="59441"/>
                      </a:moveTo>
                      <a:cubicBezTo>
                        <a:pt x="-5255" y="30104"/>
                        <a:pt x="-873" y="9530"/>
                        <a:pt x="18272" y="1911"/>
                      </a:cubicBezTo>
                      <a:cubicBezTo>
                        <a:pt x="35131" y="-4852"/>
                        <a:pt x="52848" y="6387"/>
                        <a:pt x="64563" y="34867"/>
                      </a:cubicBezTo>
                      <a:cubicBezTo>
                        <a:pt x="76089" y="63823"/>
                        <a:pt x="69993" y="84683"/>
                        <a:pt x="52467" y="91731"/>
                      </a:cubicBezTo>
                      <a:cubicBezTo>
                        <a:pt x="34274" y="98970"/>
                        <a:pt x="17510" y="86969"/>
                        <a:pt x="6461" y="59441"/>
                      </a:cubicBezTo>
                      <a:close/>
                      <a:moveTo>
                        <a:pt x="52752" y="39344"/>
                      </a:moveTo>
                      <a:cubicBezTo>
                        <a:pt x="43799" y="16960"/>
                        <a:pt x="31797" y="6959"/>
                        <a:pt x="21225" y="11150"/>
                      </a:cubicBezTo>
                      <a:cubicBezTo>
                        <a:pt x="9318" y="15912"/>
                        <a:pt x="9128" y="32105"/>
                        <a:pt x="17986" y="54203"/>
                      </a:cubicBezTo>
                      <a:cubicBezTo>
                        <a:pt x="26463" y="75444"/>
                        <a:pt x="37512" y="87159"/>
                        <a:pt x="49609" y="82397"/>
                      </a:cubicBezTo>
                      <a:cubicBezTo>
                        <a:pt x="59801" y="78301"/>
                        <a:pt x="62277" y="62870"/>
                        <a:pt x="52848" y="393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05" name="Freeform: Shape 204">
                  <a:extLst>
                    <a:ext uri="{FF2B5EF4-FFF2-40B4-BE49-F238E27FC236}">
                      <a16:creationId xmlns:a16="http://schemas.microsoft.com/office/drawing/2014/main" id="{286DA17A-DCFC-B308-C1B1-68937CDD46D2}"/>
                    </a:ext>
                  </a:extLst>
                </p:cNvPr>
                <p:cNvSpPr/>
                <p:nvPr/>
              </p:nvSpPr>
              <p:spPr>
                <a:xfrm>
                  <a:off x="6460711" y="4795360"/>
                  <a:ext cx="54006" cy="92201"/>
                </a:xfrm>
                <a:custGeom>
                  <a:avLst/>
                  <a:gdLst>
                    <a:gd name="connsiteX0" fmla="*/ 35814 w 54006"/>
                    <a:gd name="connsiteY0" fmla="*/ 77533 h 92201"/>
                    <a:gd name="connsiteX1" fmla="*/ 36100 w 54006"/>
                    <a:gd name="connsiteY1" fmla="*/ 77533 h 92201"/>
                    <a:gd name="connsiteX2" fmla="*/ 48863 w 54006"/>
                    <a:gd name="connsiteY2" fmla="*/ 64294 h 92201"/>
                    <a:gd name="connsiteX3" fmla="*/ 54007 w 54006"/>
                    <a:gd name="connsiteY3" fmla="*/ 72676 h 92201"/>
                    <a:gd name="connsiteX4" fmla="*/ 37910 w 54006"/>
                    <a:gd name="connsiteY4" fmla="*/ 89059 h 92201"/>
                    <a:gd name="connsiteX5" fmla="*/ 27718 w 54006"/>
                    <a:gd name="connsiteY5" fmla="*/ 92202 h 92201"/>
                    <a:gd name="connsiteX6" fmla="*/ 0 w 54006"/>
                    <a:gd name="connsiteY6" fmla="*/ 3619 h 92201"/>
                    <a:gd name="connsiteX7" fmla="*/ 11621 w 54006"/>
                    <a:gd name="connsiteY7" fmla="*/ 0 h 92201"/>
                    <a:gd name="connsiteX8" fmla="*/ 35814 w 54006"/>
                    <a:gd name="connsiteY8" fmla="*/ 77438 h 92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06" h="92201">
                      <a:moveTo>
                        <a:pt x="35814" y="77533"/>
                      </a:moveTo>
                      <a:lnTo>
                        <a:pt x="36100" y="77533"/>
                      </a:lnTo>
                      <a:cubicBezTo>
                        <a:pt x="36100" y="77533"/>
                        <a:pt x="48863" y="64294"/>
                        <a:pt x="48863" y="64294"/>
                      </a:cubicBezTo>
                      <a:lnTo>
                        <a:pt x="54007" y="72676"/>
                      </a:lnTo>
                      <a:lnTo>
                        <a:pt x="37910" y="89059"/>
                      </a:lnTo>
                      <a:lnTo>
                        <a:pt x="27718" y="92202"/>
                      </a:lnTo>
                      <a:lnTo>
                        <a:pt x="0" y="3619"/>
                      </a:lnTo>
                      <a:lnTo>
                        <a:pt x="11621" y="0"/>
                      </a:lnTo>
                      <a:lnTo>
                        <a:pt x="35814" y="774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06" name="Freeform: Shape 205">
                  <a:extLst>
                    <a:ext uri="{FF2B5EF4-FFF2-40B4-BE49-F238E27FC236}">
                      <a16:creationId xmlns:a16="http://schemas.microsoft.com/office/drawing/2014/main" id="{4A480CC0-1801-94D4-CD03-736AB565B7EE}"/>
                    </a:ext>
                  </a:extLst>
                </p:cNvPr>
                <p:cNvSpPr/>
                <p:nvPr/>
              </p:nvSpPr>
              <p:spPr>
                <a:xfrm>
                  <a:off x="6341347" y="4818467"/>
                  <a:ext cx="65957" cy="95392"/>
                </a:xfrm>
                <a:custGeom>
                  <a:avLst/>
                  <a:gdLst>
                    <a:gd name="connsiteX0" fmla="*/ 2587 w 65957"/>
                    <a:gd name="connsiteY0" fmla="*/ 55665 h 95392"/>
                    <a:gd name="connsiteX1" fmla="*/ 23066 w 65957"/>
                    <a:gd name="connsiteY1" fmla="*/ 705 h 95392"/>
                    <a:gd name="connsiteX2" fmla="*/ 63643 w 65957"/>
                    <a:gd name="connsiteY2" fmla="*/ 40329 h 95392"/>
                    <a:gd name="connsiteX3" fmla="*/ 42973 w 65957"/>
                    <a:gd name="connsiteY3" fmla="*/ 94622 h 95392"/>
                    <a:gd name="connsiteX4" fmla="*/ 2492 w 65957"/>
                    <a:gd name="connsiteY4" fmla="*/ 55665 h 95392"/>
                    <a:gd name="connsiteX5" fmla="*/ 51451 w 65957"/>
                    <a:gd name="connsiteY5" fmla="*/ 42996 h 95392"/>
                    <a:gd name="connsiteX6" fmla="*/ 24590 w 65957"/>
                    <a:gd name="connsiteY6" fmla="*/ 10325 h 95392"/>
                    <a:gd name="connsiteX7" fmla="*/ 14779 w 65957"/>
                    <a:gd name="connsiteY7" fmla="*/ 52331 h 95392"/>
                    <a:gd name="connsiteX8" fmla="*/ 41640 w 65957"/>
                    <a:gd name="connsiteY8" fmla="*/ 85001 h 95392"/>
                    <a:gd name="connsiteX9" fmla="*/ 51546 w 65957"/>
                    <a:gd name="connsiteY9" fmla="*/ 42996 h 9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57" h="95392">
                      <a:moveTo>
                        <a:pt x="2587" y="55665"/>
                      </a:moveTo>
                      <a:cubicBezTo>
                        <a:pt x="-4461" y="24899"/>
                        <a:pt x="3064" y="5277"/>
                        <a:pt x="23066" y="705"/>
                      </a:cubicBezTo>
                      <a:cubicBezTo>
                        <a:pt x="40782" y="-3391"/>
                        <a:pt x="56499" y="10421"/>
                        <a:pt x="63643" y="40329"/>
                      </a:cubicBezTo>
                      <a:cubicBezTo>
                        <a:pt x="70596" y="70714"/>
                        <a:pt x="61356" y="90431"/>
                        <a:pt x="42973" y="94622"/>
                      </a:cubicBezTo>
                      <a:cubicBezTo>
                        <a:pt x="23923" y="99003"/>
                        <a:pt x="9160" y="84525"/>
                        <a:pt x="2492" y="55665"/>
                      </a:cubicBezTo>
                      <a:close/>
                      <a:moveTo>
                        <a:pt x="51451" y="42996"/>
                      </a:moveTo>
                      <a:cubicBezTo>
                        <a:pt x="46021" y="19470"/>
                        <a:pt x="35734" y="7754"/>
                        <a:pt x="24590" y="10325"/>
                      </a:cubicBezTo>
                      <a:cubicBezTo>
                        <a:pt x="12017" y="13183"/>
                        <a:pt x="9445" y="29185"/>
                        <a:pt x="14779" y="52331"/>
                      </a:cubicBezTo>
                      <a:cubicBezTo>
                        <a:pt x="19923" y="74619"/>
                        <a:pt x="28972" y="87954"/>
                        <a:pt x="41640" y="85001"/>
                      </a:cubicBezTo>
                      <a:cubicBezTo>
                        <a:pt x="52403" y="82525"/>
                        <a:pt x="57165" y="67666"/>
                        <a:pt x="51546" y="4299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07" name="Freeform: Shape 206">
                  <a:extLst>
                    <a:ext uri="{FF2B5EF4-FFF2-40B4-BE49-F238E27FC236}">
                      <a16:creationId xmlns:a16="http://schemas.microsoft.com/office/drawing/2014/main" id="{6F6EDC8A-D080-6110-B455-52A9A64C0E5E}"/>
                    </a:ext>
                  </a:extLst>
                </p:cNvPr>
                <p:cNvSpPr/>
                <p:nvPr/>
              </p:nvSpPr>
              <p:spPr>
                <a:xfrm>
                  <a:off x="6247542" y="4836794"/>
                  <a:ext cx="42862" cy="93630"/>
                </a:xfrm>
                <a:custGeom>
                  <a:avLst/>
                  <a:gdLst>
                    <a:gd name="connsiteX0" fmla="*/ 24098 w 42862"/>
                    <a:gd name="connsiteY0" fmla="*/ 80201 h 93630"/>
                    <a:gd name="connsiteX1" fmla="*/ 24384 w 42862"/>
                    <a:gd name="connsiteY1" fmla="*/ 80201 h 93630"/>
                    <a:gd name="connsiteX2" fmla="*/ 39052 w 42862"/>
                    <a:gd name="connsiteY2" fmla="*/ 69152 h 93630"/>
                    <a:gd name="connsiteX3" fmla="*/ 42863 w 42862"/>
                    <a:gd name="connsiteY3" fmla="*/ 78296 h 93630"/>
                    <a:gd name="connsiteX4" fmla="*/ 24384 w 42862"/>
                    <a:gd name="connsiteY4" fmla="*/ 92012 h 93630"/>
                    <a:gd name="connsiteX5" fmla="*/ 13811 w 42862"/>
                    <a:gd name="connsiteY5" fmla="*/ 93631 h 93630"/>
                    <a:gd name="connsiteX6" fmla="*/ 0 w 42862"/>
                    <a:gd name="connsiteY6" fmla="*/ 1810 h 93630"/>
                    <a:gd name="connsiteX7" fmla="*/ 12001 w 42862"/>
                    <a:gd name="connsiteY7" fmla="*/ 0 h 93630"/>
                    <a:gd name="connsiteX8" fmla="*/ 24098 w 42862"/>
                    <a:gd name="connsiteY8" fmla="*/ 80201 h 9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62" h="93630">
                      <a:moveTo>
                        <a:pt x="24098" y="80201"/>
                      </a:moveTo>
                      <a:lnTo>
                        <a:pt x="24384" y="80201"/>
                      </a:lnTo>
                      <a:cubicBezTo>
                        <a:pt x="24384" y="80201"/>
                        <a:pt x="39052" y="69152"/>
                        <a:pt x="39052" y="69152"/>
                      </a:cubicBezTo>
                      <a:lnTo>
                        <a:pt x="42863" y="78296"/>
                      </a:lnTo>
                      <a:lnTo>
                        <a:pt x="24384" y="92012"/>
                      </a:lnTo>
                      <a:lnTo>
                        <a:pt x="13811" y="93631"/>
                      </a:lnTo>
                      <a:lnTo>
                        <a:pt x="0" y="1810"/>
                      </a:lnTo>
                      <a:lnTo>
                        <a:pt x="12001" y="0"/>
                      </a:lnTo>
                      <a:lnTo>
                        <a:pt x="24098" y="8020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08" name="Freeform: Shape 207">
                  <a:extLst>
                    <a:ext uri="{FF2B5EF4-FFF2-40B4-BE49-F238E27FC236}">
                      <a16:creationId xmlns:a16="http://schemas.microsoft.com/office/drawing/2014/main" id="{EF2EB437-644C-1387-459B-8D9889CD8E7B}"/>
                    </a:ext>
                  </a:extLst>
                </p:cNvPr>
                <p:cNvSpPr/>
                <p:nvPr/>
              </p:nvSpPr>
              <p:spPr>
                <a:xfrm>
                  <a:off x="6120357" y="4843575"/>
                  <a:ext cx="63262" cy="95983"/>
                </a:xfrm>
                <a:custGeom>
                  <a:avLst/>
                  <a:gdLst>
                    <a:gd name="connsiteX0" fmla="*/ 311 w 63262"/>
                    <a:gd name="connsiteY0" fmla="*/ 51322 h 95983"/>
                    <a:gd name="connsiteX1" fmla="*/ 28886 w 63262"/>
                    <a:gd name="connsiteY1" fmla="*/ 77 h 95983"/>
                    <a:gd name="connsiteX2" fmla="*/ 62986 w 63262"/>
                    <a:gd name="connsiteY2" fmla="*/ 45416 h 95983"/>
                    <a:gd name="connsiteX3" fmla="*/ 34316 w 63262"/>
                    <a:gd name="connsiteY3" fmla="*/ 95899 h 95983"/>
                    <a:gd name="connsiteX4" fmla="*/ 216 w 63262"/>
                    <a:gd name="connsiteY4" fmla="*/ 51322 h 95983"/>
                    <a:gd name="connsiteX5" fmla="*/ 50508 w 63262"/>
                    <a:gd name="connsiteY5" fmla="*/ 46178 h 95983"/>
                    <a:gd name="connsiteX6" fmla="*/ 28886 w 63262"/>
                    <a:gd name="connsiteY6" fmla="*/ 9793 h 95983"/>
                    <a:gd name="connsiteX7" fmla="*/ 12789 w 63262"/>
                    <a:gd name="connsiteY7" fmla="*/ 49798 h 95983"/>
                    <a:gd name="connsiteX8" fmla="*/ 34411 w 63262"/>
                    <a:gd name="connsiteY8" fmla="*/ 86183 h 95983"/>
                    <a:gd name="connsiteX9" fmla="*/ 50508 w 63262"/>
                    <a:gd name="connsiteY9" fmla="*/ 46178 h 95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262" h="95983">
                      <a:moveTo>
                        <a:pt x="311" y="51322"/>
                      </a:moveTo>
                      <a:cubicBezTo>
                        <a:pt x="-1975" y="19889"/>
                        <a:pt x="8408" y="1601"/>
                        <a:pt x="28886" y="77"/>
                      </a:cubicBezTo>
                      <a:cubicBezTo>
                        <a:pt x="46984" y="-1256"/>
                        <a:pt x="60509" y="14746"/>
                        <a:pt x="62986" y="45416"/>
                      </a:cubicBezTo>
                      <a:cubicBezTo>
                        <a:pt x="65272" y="76468"/>
                        <a:pt x="53175" y="94565"/>
                        <a:pt x="34316" y="95899"/>
                      </a:cubicBezTo>
                      <a:cubicBezTo>
                        <a:pt x="14789" y="97328"/>
                        <a:pt x="2407" y="80754"/>
                        <a:pt x="216" y="51322"/>
                      </a:cubicBezTo>
                      <a:close/>
                      <a:moveTo>
                        <a:pt x="50508" y="46178"/>
                      </a:moveTo>
                      <a:cubicBezTo>
                        <a:pt x="48698" y="22080"/>
                        <a:pt x="40316" y="8936"/>
                        <a:pt x="28886" y="9793"/>
                      </a:cubicBezTo>
                      <a:cubicBezTo>
                        <a:pt x="16028" y="10745"/>
                        <a:pt x="11075" y="26176"/>
                        <a:pt x="12789" y="49798"/>
                      </a:cubicBezTo>
                      <a:cubicBezTo>
                        <a:pt x="14504" y="72562"/>
                        <a:pt x="21362" y="87136"/>
                        <a:pt x="34411" y="86183"/>
                      </a:cubicBezTo>
                      <a:cubicBezTo>
                        <a:pt x="45365" y="85421"/>
                        <a:pt x="52413" y="71420"/>
                        <a:pt x="50508" y="461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09" name="Freeform: Shape 208">
                  <a:extLst>
                    <a:ext uri="{FF2B5EF4-FFF2-40B4-BE49-F238E27FC236}">
                      <a16:creationId xmlns:a16="http://schemas.microsoft.com/office/drawing/2014/main" id="{E1314624-C289-F48E-E067-A2A5A60CD983}"/>
                    </a:ext>
                  </a:extLst>
                </p:cNvPr>
                <p:cNvSpPr/>
                <p:nvPr/>
              </p:nvSpPr>
              <p:spPr>
                <a:xfrm>
                  <a:off x="6030657" y="4845367"/>
                  <a:ext cx="30956" cy="92868"/>
                </a:xfrm>
                <a:custGeom>
                  <a:avLst/>
                  <a:gdLst>
                    <a:gd name="connsiteX0" fmla="*/ 12097 w 30956"/>
                    <a:gd name="connsiteY0" fmla="*/ 81058 h 92868"/>
                    <a:gd name="connsiteX1" fmla="*/ 12383 w 30956"/>
                    <a:gd name="connsiteY1" fmla="*/ 81058 h 92868"/>
                    <a:gd name="connsiteX2" fmla="*/ 28575 w 30956"/>
                    <a:gd name="connsiteY2" fmla="*/ 72390 h 92868"/>
                    <a:gd name="connsiteX3" fmla="*/ 30956 w 30956"/>
                    <a:gd name="connsiteY3" fmla="*/ 82010 h 92868"/>
                    <a:gd name="connsiteX4" fmla="*/ 10668 w 30956"/>
                    <a:gd name="connsiteY4" fmla="*/ 92869 h 92868"/>
                    <a:gd name="connsiteX5" fmla="*/ 0 w 30956"/>
                    <a:gd name="connsiteY5" fmla="*/ 92869 h 92868"/>
                    <a:gd name="connsiteX6" fmla="*/ 191 w 30956"/>
                    <a:gd name="connsiteY6" fmla="*/ 0 h 92868"/>
                    <a:gd name="connsiteX7" fmla="*/ 12287 w 30956"/>
                    <a:gd name="connsiteY7" fmla="*/ 0 h 92868"/>
                    <a:gd name="connsiteX8" fmla="*/ 12097 w 30956"/>
                    <a:gd name="connsiteY8" fmla="*/ 81153 h 9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56" h="92868">
                      <a:moveTo>
                        <a:pt x="12097" y="81058"/>
                      </a:moveTo>
                      <a:lnTo>
                        <a:pt x="12383" y="81058"/>
                      </a:lnTo>
                      <a:lnTo>
                        <a:pt x="28575" y="72390"/>
                      </a:lnTo>
                      <a:lnTo>
                        <a:pt x="30956" y="82010"/>
                      </a:lnTo>
                      <a:lnTo>
                        <a:pt x="10668" y="92869"/>
                      </a:lnTo>
                      <a:lnTo>
                        <a:pt x="0" y="92869"/>
                      </a:lnTo>
                      <a:cubicBezTo>
                        <a:pt x="0" y="92869"/>
                        <a:pt x="191" y="0"/>
                        <a:pt x="191" y="0"/>
                      </a:cubicBezTo>
                      <a:lnTo>
                        <a:pt x="12287" y="0"/>
                      </a:lnTo>
                      <a:cubicBezTo>
                        <a:pt x="12287" y="0"/>
                        <a:pt x="12097" y="81153"/>
                        <a:pt x="12097" y="811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10" name="Freeform: Shape 209">
                  <a:extLst>
                    <a:ext uri="{FF2B5EF4-FFF2-40B4-BE49-F238E27FC236}">
                      <a16:creationId xmlns:a16="http://schemas.microsoft.com/office/drawing/2014/main" id="{69774E00-7A38-07BD-4C32-DD2E8676BEDD}"/>
                    </a:ext>
                  </a:extLst>
                </p:cNvPr>
                <p:cNvSpPr/>
                <p:nvPr/>
              </p:nvSpPr>
              <p:spPr>
                <a:xfrm>
                  <a:off x="5896408" y="4835352"/>
                  <a:ext cx="63546" cy="95828"/>
                </a:xfrm>
                <a:custGeom>
                  <a:avLst/>
                  <a:gdLst>
                    <a:gd name="connsiteX0" fmla="*/ 424 w 63546"/>
                    <a:gd name="connsiteY0" fmla="*/ 46400 h 95828"/>
                    <a:gd name="connsiteX1" fmla="*/ 36428 w 63546"/>
                    <a:gd name="connsiteY1" fmla="*/ 109 h 95828"/>
                    <a:gd name="connsiteX2" fmla="*/ 63289 w 63546"/>
                    <a:gd name="connsiteY2" fmla="*/ 50115 h 95828"/>
                    <a:gd name="connsiteX3" fmla="*/ 27284 w 63546"/>
                    <a:gd name="connsiteY3" fmla="*/ 95740 h 95828"/>
                    <a:gd name="connsiteX4" fmla="*/ 329 w 63546"/>
                    <a:gd name="connsiteY4" fmla="*/ 46496 h 95828"/>
                    <a:gd name="connsiteX5" fmla="*/ 50811 w 63546"/>
                    <a:gd name="connsiteY5" fmla="*/ 48877 h 95828"/>
                    <a:gd name="connsiteX6" fmla="*/ 34999 w 63546"/>
                    <a:gd name="connsiteY6" fmla="*/ 9634 h 95828"/>
                    <a:gd name="connsiteX7" fmla="*/ 12997 w 63546"/>
                    <a:gd name="connsiteY7" fmla="*/ 46781 h 95828"/>
                    <a:gd name="connsiteX8" fmla="*/ 28808 w 63546"/>
                    <a:gd name="connsiteY8" fmla="*/ 86024 h 95828"/>
                    <a:gd name="connsiteX9" fmla="*/ 50811 w 63546"/>
                    <a:gd name="connsiteY9" fmla="*/ 48877 h 9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546" h="95828">
                      <a:moveTo>
                        <a:pt x="424" y="46400"/>
                      </a:moveTo>
                      <a:cubicBezTo>
                        <a:pt x="2900" y="14968"/>
                        <a:pt x="15949" y="-1510"/>
                        <a:pt x="36428" y="109"/>
                      </a:cubicBezTo>
                      <a:cubicBezTo>
                        <a:pt x="54526" y="1538"/>
                        <a:pt x="65384" y="19445"/>
                        <a:pt x="63289" y="50115"/>
                      </a:cubicBezTo>
                      <a:cubicBezTo>
                        <a:pt x="60812" y="81167"/>
                        <a:pt x="46144" y="97169"/>
                        <a:pt x="27284" y="95740"/>
                      </a:cubicBezTo>
                      <a:cubicBezTo>
                        <a:pt x="7758" y="94216"/>
                        <a:pt x="-1958" y="75928"/>
                        <a:pt x="329" y="46496"/>
                      </a:cubicBezTo>
                      <a:close/>
                      <a:moveTo>
                        <a:pt x="50811" y="48877"/>
                      </a:moveTo>
                      <a:cubicBezTo>
                        <a:pt x="52716" y="24779"/>
                        <a:pt x="46334" y="10587"/>
                        <a:pt x="34999" y="9634"/>
                      </a:cubicBezTo>
                      <a:cubicBezTo>
                        <a:pt x="22141" y="8586"/>
                        <a:pt x="14902" y="23064"/>
                        <a:pt x="12997" y="46781"/>
                      </a:cubicBezTo>
                      <a:cubicBezTo>
                        <a:pt x="11187" y="69546"/>
                        <a:pt x="15854" y="84977"/>
                        <a:pt x="28808" y="86024"/>
                      </a:cubicBezTo>
                      <a:cubicBezTo>
                        <a:pt x="39762" y="86882"/>
                        <a:pt x="48811" y="74118"/>
                        <a:pt x="50811" y="4887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11" name="Freeform: Shape 210">
                  <a:extLst>
                    <a:ext uri="{FF2B5EF4-FFF2-40B4-BE49-F238E27FC236}">
                      <a16:creationId xmlns:a16="http://schemas.microsoft.com/office/drawing/2014/main" id="{DA10A786-14EC-1888-212C-CF3D2BE495E7}"/>
                    </a:ext>
                  </a:extLst>
                </p:cNvPr>
                <p:cNvSpPr/>
                <p:nvPr/>
              </p:nvSpPr>
              <p:spPr>
                <a:xfrm>
                  <a:off x="5678509" y="4794398"/>
                  <a:ext cx="66530" cy="94697"/>
                </a:xfrm>
                <a:custGeom>
                  <a:avLst/>
                  <a:gdLst>
                    <a:gd name="connsiteX0" fmla="*/ 2581 w 66530"/>
                    <a:gd name="connsiteY0" fmla="*/ 41252 h 94697"/>
                    <a:gd name="connsiteX1" fmla="*/ 45158 w 66530"/>
                    <a:gd name="connsiteY1" fmla="*/ 867 h 94697"/>
                    <a:gd name="connsiteX2" fmla="*/ 64208 w 66530"/>
                    <a:gd name="connsiteY2" fmla="*/ 54302 h 94697"/>
                    <a:gd name="connsiteX3" fmla="*/ 21726 w 66530"/>
                    <a:gd name="connsiteY3" fmla="*/ 93926 h 94697"/>
                    <a:gd name="connsiteX4" fmla="*/ 2485 w 66530"/>
                    <a:gd name="connsiteY4" fmla="*/ 41157 h 94697"/>
                    <a:gd name="connsiteX5" fmla="*/ 52016 w 66530"/>
                    <a:gd name="connsiteY5" fmla="*/ 51349 h 94697"/>
                    <a:gd name="connsiteX6" fmla="*/ 42300 w 66530"/>
                    <a:gd name="connsiteY6" fmla="*/ 10201 h 94697"/>
                    <a:gd name="connsiteX7" fmla="*/ 14963 w 66530"/>
                    <a:gd name="connsiteY7" fmla="*/ 43539 h 94697"/>
                    <a:gd name="connsiteX8" fmla="*/ 24679 w 66530"/>
                    <a:gd name="connsiteY8" fmla="*/ 84686 h 94697"/>
                    <a:gd name="connsiteX9" fmla="*/ 52016 w 66530"/>
                    <a:gd name="connsiteY9" fmla="*/ 51349 h 9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30" h="94697">
                      <a:moveTo>
                        <a:pt x="2581" y="41252"/>
                      </a:moveTo>
                      <a:cubicBezTo>
                        <a:pt x="9820" y="10487"/>
                        <a:pt x="25155" y="-3801"/>
                        <a:pt x="45158" y="867"/>
                      </a:cubicBezTo>
                      <a:cubicBezTo>
                        <a:pt x="62779" y="4962"/>
                        <a:pt x="70875" y="24393"/>
                        <a:pt x="64208" y="54302"/>
                      </a:cubicBezTo>
                      <a:cubicBezTo>
                        <a:pt x="57064" y="84591"/>
                        <a:pt x="40109" y="98212"/>
                        <a:pt x="21726" y="93926"/>
                      </a:cubicBezTo>
                      <a:cubicBezTo>
                        <a:pt x="2676" y="89449"/>
                        <a:pt x="-4182" y="69923"/>
                        <a:pt x="2485" y="41157"/>
                      </a:cubicBezTo>
                      <a:close/>
                      <a:moveTo>
                        <a:pt x="52016" y="51349"/>
                      </a:moveTo>
                      <a:cubicBezTo>
                        <a:pt x="57540" y="27822"/>
                        <a:pt x="53444" y="12773"/>
                        <a:pt x="42300" y="10201"/>
                      </a:cubicBezTo>
                      <a:cubicBezTo>
                        <a:pt x="29822" y="7248"/>
                        <a:pt x="20392" y="20488"/>
                        <a:pt x="14963" y="43539"/>
                      </a:cubicBezTo>
                      <a:cubicBezTo>
                        <a:pt x="9725" y="65827"/>
                        <a:pt x="12010" y="81734"/>
                        <a:pt x="24679" y="84686"/>
                      </a:cubicBezTo>
                      <a:cubicBezTo>
                        <a:pt x="35347" y="87163"/>
                        <a:pt x="46205" y="75924"/>
                        <a:pt x="52016" y="513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12" name="Freeform: Shape 211">
                  <a:extLst>
                    <a:ext uri="{FF2B5EF4-FFF2-40B4-BE49-F238E27FC236}">
                      <a16:creationId xmlns:a16="http://schemas.microsoft.com/office/drawing/2014/main" id="{13D321C3-E679-372A-3C80-EF52EA021036}"/>
                    </a:ext>
                  </a:extLst>
                </p:cNvPr>
                <p:cNvSpPr/>
                <p:nvPr/>
              </p:nvSpPr>
              <p:spPr>
                <a:xfrm>
                  <a:off x="5582316" y="4761356"/>
                  <a:ext cx="39719" cy="91725"/>
                </a:xfrm>
                <a:custGeom>
                  <a:avLst/>
                  <a:gdLst>
                    <a:gd name="connsiteX0" fmla="*/ 15145 w 39719"/>
                    <a:gd name="connsiteY0" fmla="*/ 80963 h 91725"/>
                    <a:gd name="connsiteX1" fmla="*/ 15431 w 39719"/>
                    <a:gd name="connsiteY1" fmla="*/ 80963 h 91725"/>
                    <a:gd name="connsiteX2" fmla="*/ 33433 w 39719"/>
                    <a:gd name="connsiteY2" fmla="*/ 77629 h 91725"/>
                    <a:gd name="connsiteX3" fmla="*/ 32861 w 39719"/>
                    <a:gd name="connsiteY3" fmla="*/ 87535 h 91725"/>
                    <a:gd name="connsiteX4" fmla="*/ 10192 w 39719"/>
                    <a:gd name="connsiteY4" fmla="*/ 91726 h 91725"/>
                    <a:gd name="connsiteX5" fmla="*/ 0 w 39719"/>
                    <a:gd name="connsiteY5" fmla="*/ 88487 h 91725"/>
                    <a:gd name="connsiteX6" fmla="*/ 28099 w 39719"/>
                    <a:gd name="connsiteY6" fmla="*/ 0 h 91725"/>
                    <a:gd name="connsiteX7" fmla="*/ 39719 w 39719"/>
                    <a:gd name="connsiteY7" fmla="*/ 3715 h 91725"/>
                    <a:gd name="connsiteX8" fmla="*/ 15240 w 39719"/>
                    <a:gd name="connsiteY8" fmla="*/ 81058 h 91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19" h="91725">
                      <a:moveTo>
                        <a:pt x="15145" y="80963"/>
                      </a:moveTo>
                      <a:lnTo>
                        <a:pt x="15431" y="80963"/>
                      </a:lnTo>
                      <a:cubicBezTo>
                        <a:pt x="15431" y="80963"/>
                        <a:pt x="33433" y="77629"/>
                        <a:pt x="33433" y="77629"/>
                      </a:cubicBezTo>
                      <a:lnTo>
                        <a:pt x="32861" y="87535"/>
                      </a:lnTo>
                      <a:lnTo>
                        <a:pt x="10192" y="91726"/>
                      </a:lnTo>
                      <a:lnTo>
                        <a:pt x="0" y="88487"/>
                      </a:lnTo>
                      <a:lnTo>
                        <a:pt x="28099" y="0"/>
                      </a:lnTo>
                      <a:lnTo>
                        <a:pt x="39719" y="3715"/>
                      </a:lnTo>
                      <a:lnTo>
                        <a:pt x="15240" y="8105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13" name="Freeform: Shape 212">
                  <a:extLst>
                    <a:ext uri="{FF2B5EF4-FFF2-40B4-BE49-F238E27FC236}">
                      <a16:creationId xmlns:a16="http://schemas.microsoft.com/office/drawing/2014/main" id="{ABC657D4-23AC-5494-3105-89D8F5CA3FFA}"/>
                    </a:ext>
                  </a:extLst>
                </p:cNvPr>
                <p:cNvSpPr/>
                <p:nvPr/>
              </p:nvSpPr>
              <p:spPr>
                <a:xfrm>
                  <a:off x="5465418" y="4720191"/>
                  <a:ext cx="71101" cy="92774"/>
                </a:xfrm>
                <a:custGeom>
                  <a:avLst/>
                  <a:gdLst>
                    <a:gd name="connsiteX0" fmla="*/ 6217 w 71101"/>
                    <a:gd name="connsiteY0" fmla="*/ 35640 h 92774"/>
                    <a:gd name="connsiteX1" fmla="*/ 54508 w 71101"/>
                    <a:gd name="connsiteY1" fmla="*/ 2303 h 92774"/>
                    <a:gd name="connsiteX2" fmla="*/ 65081 w 71101"/>
                    <a:gd name="connsiteY2" fmla="*/ 58024 h 92774"/>
                    <a:gd name="connsiteX3" fmla="*/ 17075 w 71101"/>
                    <a:gd name="connsiteY3" fmla="*/ 90695 h 92774"/>
                    <a:gd name="connsiteX4" fmla="*/ 6217 w 71101"/>
                    <a:gd name="connsiteY4" fmla="*/ 35640 h 92774"/>
                    <a:gd name="connsiteX5" fmla="*/ 53461 w 71101"/>
                    <a:gd name="connsiteY5" fmla="*/ 53262 h 92774"/>
                    <a:gd name="connsiteX6" fmla="*/ 50222 w 71101"/>
                    <a:gd name="connsiteY6" fmla="*/ 11066 h 92774"/>
                    <a:gd name="connsiteX7" fmla="*/ 18123 w 71101"/>
                    <a:gd name="connsiteY7" fmla="*/ 39831 h 92774"/>
                    <a:gd name="connsiteX8" fmla="*/ 21362 w 71101"/>
                    <a:gd name="connsiteY8" fmla="*/ 82027 h 92774"/>
                    <a:gd name="connsiteX9" fmla="*/ 53461 w 71101"/>
                    <a:gd name="connsiteY9" fmla="*/ 53262 h 9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01" h="92774">
                      <a:moveTo>
                        <a:pt x="6217" y="35640"/>
                      </a:moveTo>
                      <a:cubicBezTo>
                        <a:pt x="18028" y="6399"/>
                        <a:pt x="35458" y="-5412"/>
                        <a:pt x="54508" y="2303"/>
                      </a:cubicBezTo>
                      <a:cubicBezTo>
                        <a:pt x="71272" y="9066"/>
                        <a:pt x="76321" y="29449"/>
                        <a:pt x="65081" y="58024"/>
                      </a:cubicBezTo>
                      <a:cubicBezTo>
                        <a:pt x="53366" y="86885"/>
                        <a:pt x="34506" y="97743"/>
                        <a:pt x="17075" y="90695"/>
                      </a:cubicBezTo>
                      <a:cubicBezTo>
                        <a:pt x="-1117" y="83361"/>
                        <a:pt x="-4832" y="62977"/>
                        <a:pt x="6217" y="35640"/>
                      </a:cubicBezTo>
                      <a:close/>
                      <a:moveTo>
                        <a:pt x="53461" y="53262"/>
                      </a:moveTo>
                      <a:cubicBezTo>
                        <a:pt x="62510" y="30878"/>
                        <a:pt x="60795" y="15352"/>
                        <a:pt x="50222" y="11066"/>
                      </a:cubicBezTo>
                      <a:cubicBezTo>
                        <a:pt x="38316" y="6208"/>
                        <a:pt x="26981" y="17829"/>
                        <a:pt x="18123" y="39831"/>
                      </a:cubicBezTo>
                      <a:cubicBezTo>
                        <a:pt x="9551" y="60977"/>
                        <a:pt x="9360" y="77169"/>
                        <a:pt x="21362" y="82027"/>
                      </a:cubicBezTo>
                      <a:cubicBezTo>
                        <a:pt x="31553" y="86123"/>
                        <a:pt x="44031" y="76693"/>
                        <a:pt x="53461" y="5326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14" name="Freeform: Shape 213">
                  <a:extLst>
                    <a:ext uri="{FF2B5EF4-FFF2-40B4-BE49-F238E27FC236}">
                      <a16:creationId xmlns:a16="http://schemas.microsoft.com/office/drawing/2014/main" id="{DB027768-AB04-3C89-0C25-2878ECD888F4}"/>
                    </a:ext>
                  </a:extLst>
                </p:cNvPr>
                <p:cNvSpPr/>
                <p:nvPr/>
              </p:nvSpPr>
              <p:spPr>
                <a:xfrm>
                  <a:off x="5372004" y="4671630"/>
                  <a:ext cx="52101" cy="87915"/>
                </a:xfrm>
                <a:custGeom>
                  <a:avLst/>
                  <a:gdLst>
                    <a:gd name="connsiteX0" fmla="*/ 16097 w 52101"/>
                    <a:gd name="connsiteY0" fmla="*/ 78105 h 87915"/>
                    <a:gd name="connsiteX1" fmla="*/ 16383 w 52101"/>
                    <a:gd name="connsiteY1" fmla="*/ 78105 h 87915"/>
                    <a:gd name="connsiteX2" fmla="*/ 34671 w 52101"/>
                    <a:gd name="connsiteY2" fmla="*/ 77629 h 87915"/>
                    <a:gd name="connsiteX3" fmla="*/ 32576 w 52101"/>
                    <a:gd name="connsiteY3" fmla="*/ 87249 h 87915"/>
                    <a:gd name="connsiteX4" fmla="*/ 9620 w 52101"/>
                    <a:gd name="connsiteY4" fmla="*/ 87916 h 87915"/>
                    <a:gd name="connsiteX5" fmla="*/ 0 w 52101"/>
                    <a:gd name="connsiteY5" fmla="*/ 83153 h 87915"/>
                    <a:gd name="connsiteX6" fmla="*/ 41243 w 52101"/>
                    <a:gd name="connsiteY6" fmla="*/ 0 h 87915"/>
                    <a:gd name="connsiteX7" fmla="*/ 52102 w 52101"/>
                    <a:gd name="connsiteY7" fmla="*/ 5429 h 87915"/>
                    <a:gd name="connsiteX8" fmla="*/ 16002 w 52101"/>
                    <a:gd name="connsiteY8" fmla="*/ 78105 h 87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101" h="87915">
                      <a:moveTo>
                        <a:pt x="16097" y="78105"/>
                      </a:moveTo>
                      <a:lnTo>
                        <a:pt x="16383" y="78105"/>
                      </a:lnTo>
                      <a:cubicBezTo>
                        <a:pt x="16383" y="78105"/>
                        <a:pt x="34671" y="77629"/>
                        <a:pt x="34671" y="77629"/>
                      </a:cubicBezTo>
                      <a:lnTo>
                        <a:pt x="32576" y="87249"/>
                      </a:lnTo>
                      <a:lnTo>
                        <a:pt x="9620" y="87916"/>
                      </a:lnTo>
                      <a:lnTo>
                        <a:pt x="0" y="83153"/>
                      </a:lnTo>
                      <a:lnTo>
                        <a:pt x="41243" y="0"/>
                      </a:lnTo>
                      <a:lnTo>
                        <a:pt x="52102" y="5429"/>
                      </a:lnTo>
                      <a:lnTo>
                        <a:pt x="16002" y="781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15" name="Freeform: Shape 214">
                  <a:extLst>
                    <a:ext uri="{FF2B5EF4-FFF2-40B4-BE49-F238E27FC236}">
                      <a16:creationId xmlns:a16="http://schemas.microsoft.com/office/drawing/2014/main" id="{7ADBD363-01F1-079A-FF57-72F083FFCBAA}"/>
                    </a:ext>
                  </a:extLst>
                </p:cNvPr>
                <p:cNvSpPr/>
                <p:nvPr/>
              </p:nvSpPr>
              <p:spPr>
                <a:xfrm>
                  <a:off x="5272563" y="4615528"/>
                  <a:ext cx="58007" cy="86296"/>
                </a:xfrm>
                <a:custGeom>
                  <a:avLst/>
                  <a:gdLst>
                    <a:gd name="connsiteX0" fmla="*/ 16478 w 58007"/>
                    <a:gd name="connsiteY0" fmla="*/ 75914 h 86296"/>
                    <a:gd name="connsiteX1" fmla="*/ 16764 w 58007"/>
                    <a:gd name="connsiteY1" fmla="*/ 76105 h 86296"/>
                    <a:gd name="connsiteX2" fmla="*/ 35052 w 58007"/>
                    <a:gd name="connsiteY2" fmla="*/ 76867 h 86296"/>
                    <a:gd name="connsiteX3" fmla="*/ 32194 w 58007"/>
                    <a:gd name="connsiteY3" fmla="*/ 86296 h 86296"/>
                    <a:gd name="connsiteX4" fmla="*/ 9239 w 58007"/>
                    <a:gd name="connsiteY4" fmla="*/ 85249 h 86296"/>
                    <a:gd name="connsiteX5" fmla="*/ 0 w 58007"/>
                    <a:gd name="connsiteY5" fmla="*/ 79724 h 86296"/>
                    <a:gd name="connsiteX6" fmla="*/ 47625 w 58007"/>
                    <a:gd name="connsiteY6" fmla="*/ 0 h 86296"/>
                    <a:gd name="connsiteX7" fmla="*/ 58007 w 58007"/>
                    <a:gd name="connsiteY7" fmla="*/ 6191 h 86296"/>
                    <a:gd name="connsiteX8" fmla="*/ 16383 w 58007"/>
                    <a:gd name="connsiteY8" fmla="*/ 75914 h 8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007" h="86296">
                      <a:moveTo>
                        <a:pt x="16478" y="75914"/>
                      </a:moveTo>
                      <a:lnTo>
                        <a:pt x="16764" y="76105"/>
                      </a:lnTo>
                      <a:lnTo>
                        <a:pt x="35052" y="76867"/>
                      </a:lnTo>
                      <a:lnTo>
                        <a:pt x="32194" y="86296"/>
                      </a:lnTo>
                      <a:lnTo>
                        <a:pt x="9239" y="85249"/>
                      </a:lnTo>
                      <a:lnTo>
                        <a:pt x="0" y="79724"/>
                      </a:lnTo>
                      <a:lnTo>
                        <a:pt x="47625" y="0"/>
                      </a:lnTo>
                      <a:lnTo>
                        <a:pt x="58007" y="6191"/>
                      </a:lnTo>
                      <a:lnTo>
                        <a:pt x="16383" y="7591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16" name="Freeform: Shape 215">
                  <a:extLst>
                    <a:ext uri="{FF2B5EF4-FFF2-40B4-BE49-F238E27FC236}">
                      <a16:creationId xmlns:a16="http://schemas.microsoft.com/office/drawing/2014/main" id="{6F463451-8B48-860D-CFCB-5305CA7682BA}"/>
                    </a:ext>
                  </a:extLst>
                </p:cNvPr>
                <p:cNvSpPr/>
                <p:nvPr/>
              </p:nvSpPr>
              <p:spPr>
                <a:xfrm>
                  <a:off x="5088004" y="4484115"/>
                  <a:ext cx="81425" cy="86217"/>
                </a:xfrm>
                <a:custGeom>
                  <a:avLst/>
                  <a:gdLst>
                    <a:gd name="connsiteX0" fmla="*/ 16062 w 81425"/>
                    <a:gd name="connsiteY0" fmla="*/ 24067 h 86217"/>
                    <a:gd name="connsiteX1" fmla="*/ 72069 w 81425"/>
                    <a:gd name="connsiteY1" fmla="*/ 6731 h 86217"/>
                    <a:gd name="connsiteX2" fmla="*/ 65497 w 81425"/>
                    <a:gd name="connsiteY2" fmla="*/ 63119 h 86217"/>
                    <a:gd name="connsiteX3" fmla="*/ 9871 w 81425"/>
                    <a:gd name="connsiteY3" fmla="*/ 79883 h 86217"/>
                    <a:gd name="connsiteX4" fmla="*/ 15967 w 81425"/>
                    <a:gd name="connsiteY4" fmla="*/ 24067 h 86217"/>
                    <a:gd name="connsiteX5" fmla="*/ 55876 w 81425"/>
                    <a:gd name="connsiteY5" fmla="*/ 55023 h 86217"/>
                    <a:gd name="connsiteX6" fmla="*/ 65306 w 81425"/>
                    <a:gd name="connsiteY6" fmla="*/ 13780 h 86217"/>
                    <a:gd name="connsiteX7" fmla="*/ 26063 w 81425"/>
                    <a:gd name="connsiteY7" fmla="*/ 31591 h 86217"/>
                    <a:gd name="connsiteX8" fmla="*/ 16538 w 81425"/>
                    <a:gd name="connsiteY8" fmla="*/ 72835 h 86217"/>
                    <a:gd name="connsiteX9" fmla="*/ 55781 w 81425"/>
                    <a:gd name="connsiteY9" fmla="*/ 55023 h 8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425" h="86217">
                      <a:moveTo>
                        <a:pt x="16062" y="24067"/>
                      </a:moveTo>
                      <a:cubicBezTo>
                        <a:pt x="36064" y="-317"/>
                        <a:pt x="56257" y="-6318"/>
                        <a:pt x="72069" y="6731"/>
                      </a:cubicBezTo>
                      <a:cubicBezTo>
                        <a:pt x="86071" y="18256"/>
                        <a:pt x="84737" y="39212"/>
                        <a:pt x="65497" y="63119"/>
                      </a:cubicBezTo>
                      <a:cubicBezTo>
                        <a:pt x="45685" y="87122"/>
                        <a:pt x="24444" y="91885"/>
                        <a:pt x="9871" y="79883"/>
                      </a:cubicBezTo>
                      <a:cubicBezTo>
                        <a:pt x="-5274" y="67501"/>
                        <a:pt x="-2798" y="46927"/>
                        <a:pt x="15967" y="24067"/>
                      </a:cubicBezTo>
                      <a:close/>
                      <a:moveTo>
                        <a:pt x="55876" y="55023"/>
                      </a:moveTo>
                      <a:cubicBezTo>
                        <a:pt x="71212" y="36354"/>
                        <a:pt x="74164" y="21114"/>
                        <a:pt x="65306" y="13780"/>
                      </a:cubicBezTo>
                      <a:cubicBezTo>
                        <a:pt x="55400" y="5588"/>
                        <a:pt x="41113" y="13304"/>
                        <a:pt x="26063" y="31591"/>
                      </a:cubicBezTo>
                      <a:cubicBezTo>
                        <a:pt x="11585" y="49213"/>
                        <a:pt x="6537" y="64548"/>
                        <a:pt x="16538" y="72835"/>
                      </a:cubicBezTo>
                      <a:cubicBezTo>
                        <a:pt x="25015" y="79788"/>
                        <a:pt x="39779" y="74549"/>
                        <a:pt x="55781" y="5502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17" name="Freeform: Shape 216">
                  <a:extLst>
                    <a:ext uri="{FF2B5EF4-FFF2-40B4-BE49-F238E27FC236}">
                      <a16:creationId xmlns:a16="http://schemas.microsoft.com/office/drawing/2014/main" id="{9C24EE5C-798C-87A8-A350-9A553E88380D}"/>
                    </a:ext>
                  </a:extLst>
                </p:cNvPr>
                <p:cNvSpPr/>
                <p:nvPr/>
              </p:nvSpPr>
              <p:spPr>
                <a:xfrm>
                  <a:off x="5009197" y="4410264"/>
                  <a:ext cx="72961" cy="80676"/>
                </a:xfrm>
                <a:custGeom>
                  <a:avLst/>
                  <a:gdLst>
                    <a:gd name="connsiteX0" fmla="*/ 16859 w 72961"/>
                    <a:gd name="connsiteY0" fmla="*/ 67056 h 80676"/>
                    <a:gd name="connsiteX1" fmla="*/ 17050 w 72961"/>
                    <a:gd name="connsiteY1" fmla="*/ 67246 h 80676"/>
                    <a:gd name="connsiteX2" fmla="*/ 34766 w 72961"/>
                    <a:gd name="connsiteY2" fmla="*/ 72104 h 80676"/>
                    <a:gd name="connsiteX3" fmla="*/ 29908 w 72961"/>
                    <a:gd name="connsiteY3" fmla="*/ 80677 h 80676"/>
                    <a:gd name="connsiteX4" fmla="*/ 7715 w 72961"/>
                    <a:gd name="connsiteY4" fmla="*/ 74486 h 80676"/>
                    <a:gd name="connsiteX5" fmla="*/ 0 w 72961"/>
                    <a:gd name="connsiteY5" fmla="*/ 67056 h 80676"/>
                    <a:gd name="connsiteX6" fmla="*/ 64198 w 72961"/>
                    <a:gd name="connsiteY6" fmla="*/ 0 h 80676"/>
                    <a:gd name="connsiteX7" fmla="*/ 72961 w 72961"/>
                    <a:gd name="connsiteY7" fmla="*/ 8382 h 80676"/>
                    <a:gd name="connsiteX8" fmla="*/ 16859 w 72961"/>
                    <a:gd name="connsiteY8" fmla="*/ 66961 h 8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61" h="80676">
                      <a:moveTo>
                        <a:pt x="16859" y="67056"/>
                      </a:moveTo>
                      <a:lnTo>
                        <a:pt x="17050" y="67246"/>
                      </a:lnTo>
                      <a:lnTo>
                        <a:pt x="34766" y="72104"/>
                      </a:lnTo>
                      <a:lnTo>
                        <a:pt x="29908" y="80677"/>
                      </a:lnTo>
                      <a:lnTo>
                        <a:pt x="7715" y="74486"/>
                      </a:lnTo>
                      <a:lnTo>
                        <a:pt x="0" y="67056"/>
                      </a:lnTo>
                      <a:lnTo>
                        <a:pt x="64198" y="0"/>
                      </a:lnTo>
                      <a:lnTo>
                        <a:pt x="72961" y="8382"/>
                      </a:lnTo>
                      <a:lnTo>
                        <a:pt x="16859" y="6696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18" name="Freeform: Shape 217">
                  <a:extLst>
                    <a:ext uri="{FF2B5EF4-FFF2-40B4-BE49-F238E27FC236}">
                      <a16:creationId xmlns:a16="http://schemas.microsoft.com/office/drawing/2014/main" id="{1BA61308-DCB8-EBFA-E5FC-2D6370E4B841}"/>
                    </a:ext>
                  </a:extLst>
                </p:cNvPr>
                <p:cNvSpPr/>
                <p:nvPr/>
              </p:nvSpPr>
              <p:spPr>
                <a:xfrm>
                  <a:off x="4929646" y="4325835"/>
                  <a:ext cx="86095" cy="81811"/>
                </a:xfrm>
                <a:custGeom>
                  <a:avLst/>
                  <a:gdLst>
                    <a:gd name="connsiteX0" fmla="*/ 21543 w 86095"/>
                    <a:gd name="connsiteY0" fmla="*/ 18326 h 81811"/>
                    <a:gd name="connsiteX1" fmla="*/ 79550 w 86095"/>
                    <a:gd name="connsiteY1" fmla="*/ 9659 h 81811"/>
                    <a:gd name="connsiteX2" fmla="*/ 64501 w 86095"/>
                    <a:gd name="connsiteY2" fmla="*/ 64427 h 81811"/>
                    <a:gd name="connsiteX3" fmla="*/ 6970 w 86095"/>
                    <a:gd name="connsiteY3" fmla="*/ 72619 h 81811"/>
                    <a:gd name="connsiteX4" fmla="*/ 21448 w 86095"/>
                    <a:gd name="connsiteY4" fmla="*/ 18326 h 81811"/>
                    <a:gd name="connsiteX5" fmla="*/ 56214 w 86095"/>
                    <a:gd name="connsiteY5" fmla="*/ 54902 h 81811"/>
                    <a:gd name="connsiteX6" fmla="*/ 71835 w 86095"/>
                    <a:gd name="connsiteY6" fmla="*/ 15564 h 81811"/>
                    <a:gd name="connsiteX7" fmla="*/ 30306 w 86095"/>
                    <a:gd name="connsiteY7" fmla="*/ 27280 h 81811"/>
                    <a:gd name="connsiteX8" fmla="*/ 14685 w 86095"/>
                    <a:gd name="connsiteY8" fmla="*/ 66618 h 81811"/>
                    <a:gd name="connsiteX9" fmla="*/ 56214 w 86095"/>
                    <a:gd name="connsiteY9" fmla="*/ 54902 h 8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095" h="81811">
                      <a:moveTo>
                        <a:pt x="21543" y="18326"/>
                      </a:moveTo>
                      <a:cubicBezTo>
                        <a:pt x="45070" y="-2724"/>
                        <a:pt x="65834" y="-5677"/>
                        <a:pt x="79550" y="9659"/>
                      </a:cubicBezTo>
                      <a:cubicBezTo>
                        <a:pt x="91647" y="23184"/>
                        <a:pt x="87170" y="43663"/>
                        <a:pt x="64501" y="64427"/>
                      </a:cubicBezTo>
                      <a:cubicBezTo>
                        <a:pt x="41260" y="85192"/>
                        <a:pt x="19543" y="86621"/>
                        <a:pt x="6970" y="72619"/>
                      </a:cubicBezTo>
                      <a:cubicBezTo>
                        <a:pt x="-6080" y="58046"/>
                        <a:pt x="-555" y="38138"/>
                        <a:pt x="21448" y="18326"/>
                      </a:cubicBezTo>
                      <a:close/>
                      <a:moveTo>
                        <a:pt x="56214" y="54902"/>
                      </a:moveTo>
                      <a:cubicBezTo>
                        <a:pt x="74216" y="38805"/>
                        <a:pt x="79455" y="24137"/>
                        <a:pt x="71835" y="15564"/>
                      </a:cubicBezTo>
                      <a:cubicBezTo>
                        <a:pt x="63262" y="6039"/>
                        <a:pt x="48022" y="11468"/>
                        <a:pt x="30306" y="27280"/>
                      </a:cubicBezTo>
                      <a:cubicBezTo>
                        <a:pt x="13256" y="42520"/>
                        <a:pt x="6017" y="56903"/>
                        <a:pt x="14685" y="66618"/>
                      </a:cubicBezTo>
                      <a:cubicBezTo>
                        <a:pt x="22019" y="74810"/>
                        <a:pt x="37354" y="71762"/>
                        <a:pt x="56214" y="549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19" name="Freeform: Shape 218">
                  <a:extLst>
                    <a:ext uri="{FF2B5EF4-FFF2-40B4-BE49-F238E27FC236}">
                      <a16:creationId xmlns:a16="http://schemas.microsoft.com/office/drawing/2014/main" id="{0B7191AE-DB43-0204-0847-368B282AA159}"/>
                    </a:ext>
                  </a:extLst>
                </p:cNvPr>
                <p:cNvSpPr/>
                <p:nvPr/>
              </p:nvSpPr>
              <p:spPr>
                <a:xfrm>
                  <a:off x="4862035" y="4242529"/>
                  <a:ext cx="81153" cy="74485"/>
                </a:xfrm>
                <a:custGeom>
                  <a:avLst/>
                  <a:gdLst>
                    <a:gd name="connsiteX0" fmla="*/ 16573 w 81153"/>
                    <a:gd name="connsiteY0" fmla="*/ 59055 h 74485"/>
                    <a:gd name="connsiteX1" fmla="*/ 16764 w 81153"/>
                    <a:gd name="connsiteY1" fmla="*/ 59246 h 74485"/>
                    <a:gd name="connsiteX2" fmla="*/ 33528 w 81153"/>
                    <a:gd name="connsiteY2" fmla="*/ 66770 h 74485"/>
                    <a:gd name="connsiteX3" fmla="*/ 27432 w 81153"/>
                    <a:gd name="connsiteY3" fmla="*/ 74486 h 74485"/>
                    <a:gd name="connsiteX4" fmla="*/ 6477 w 81153"/>
                    <a:gd name="connsiteY4" fmla="*/ 64961 h 74485"/>
                    <a:gd name="connsiteX5" fmla="*/ 0 w 81153"/>
                    <a:gd name="connsiteY5" fmla="*/ 56483 h 74485"/>
                    <a:gd name="connsiteX6" fmla="*/ 73723 w 81153"/>
                    <a:gd name="connsiteY6" fmla="*/ 0 h 74485"/>
                    <a:gd name="connsiteX7" fmla="*/ 81153 w 81153"/>
                    <a:gd name="connsiteY7" fmla="*/ 9620 h 74485"/>
                    <a:gd name="connsiteX8" fmla="*/ 16764 w 81153"/>
                    <a:gd name="connsiteY8" fmla="*/ 58960 h 7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153" h="74485">
                      <a:moveTo>
                        <a:pt x="16573" y="59055"/>
                      </a:moveTo>
                      <a:lnTo>
                        <a:pt x="16764" y="59246"/>
                      </a:lnTo>
                      <a:lnTo>
                        <a:pt x="33528" y="66770"/>
                      </a:lnTo>
                      <a:lnTo>
                        <a:pt x="27432" y="74486"/>
                      </a:lnTo>
                      <a:lnTo>
                        <a:pt x="6477" y="64961"/>
                      </a:lnTo>
                      <a:lnTo>
                        <a:pt x="0" y="56483"/>
                      </a:lnTo>
                      <a:lnTo>
                        <a:pt x="73723" y="0"/>
                      </a:lnTo>
                      <a:lnTo>
                        <a:pt x="81153" y="9620"/>
                      </a:lnTo>
                      <a:lnTo>
                        <a:pt x="16764" y="589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20" name="Freeform: Shape 219">
                  <a:extLst>
                    <a:ext uri="{FF2B5EF4-FFF2-40B4-BE49-F238E27FC236}">
                      <a16:creationId xmlns:a16="http://schemas.microsoft.com/office/drawing/2014/main" id="{D5903B4B-63A2-8007-A06C-4FC1A576CACD}"/>
                    </a:ext>
                  </a:extLst>
                </p:cNvPr>
                <p:cNvSpPr/>
                <p:nvPr/>
              </p:nvSpPr>
              <p:spPr>
                <a:xfrm>
                  <a:off x="4797794" y="4145921"/>
                  <a:ext cx="90070" cy="76898"/>
                </a:xfrm>
                <a:custGeom>
                  <a:avLst/>
                  <a:gdLst>
                    <a:gd name="connsiteX0" fmla="*/ 27094 w 90070"/>
                    <a:gd name="connsiteY0" fmla="*/ 12788 h 76898"/>
                    <a:gd name="connsiteX1" fmla="*/ 85863 w 90070"/>
                    <a:gd name="connsiteY1" fmla="*/ 13074 h 76898"/>
                    <a:gd name="connsiteX2" fmla="*/ 62622 w 90070"/>
                    <a:gd name="connsiteY2" fmla="*/ 64890 h 76898"/>
                    <a:gd name="connsiteX3" fmla="*/ 4520 w 90070"/>
                    <a:gd name="connsiteY3" fmla="*/ 64223 h 76898"/>
                    <a:gd name="connsiteX4" fmla="*/ 27189 w 90070"/>
                    <a:gd name="connsiteY4" fmla="*/ 12788 h 76898"/>
                    <a:gd name="connsiteX5" fmla="*/ 55860 w 90070"/>
                    <a:gd name="connsiteY5" fmla="*/ 54317 h 76898"/>
                    <a:gd name="connsiteX6" fmla="*/ 77291 w 90070"/>
                    <a:gd name="connsiteY6" fmla="*/ 17836 h 76898"/>
                    <a:gd name="connsiteX7" fmla="*/ 34428 w 90070"/>
                    <a:gd name="connsiteY7" fmla="*/ 23075 h 76898"/>
                    <a:gd name="connsiteX8" fmla="*/ 12997 w 90070"/>
                    <a:gd name="connsiteY8" fmla="*/ 59556 h 76898"/>
                    <a:gd name="connsiteX9" fmla="*/ 55860 w 90070"/>
                    <a:gd name="connsiteY9" fmla="*/ 54317 h 76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070" h="76898">
                      <a:moveTo>
                        <a:pt x="27094" y="12788"/>
                      </a:moveTo>
                      <a:cubicBezTo>
                        <a:pt x="53574" y="-4452"/>
                        <a:pt x="74529" y="-4166"/>
                        <a:pt x="85863" y="13074"/>
                      </a:cubicBezTo>
                      <a:cubicBezTo>
                        <a:pt x="95769" y="28314"/>
                        <a:pt x="88245" y="47840"/>
                        <a:pt x="62622" y="64890"/>
                      </a:cubicBezTo>
                      <a:cubicBezTo>
                        <a:pt x="36524" y="81940"/>
                        <a:pt x="14807" y="80035"/>
                        <a:pt x="4520" y="64223"/>
                      </a:cubicBezTo>
                      <a:cubicBezTo>
                        <a:pt x="-6148" y="47840"/>
                        <a:pt x="2329" y="28981"/>
                        <a:pt x="27189" y="12788"/>
                      </a:cubicBezTo>
                      <a:close/>
                      <a:moveTo>
                        <a:pt x="55860" y="54317"/>
                      </a:moveTo>
                      <a:cubicBezTo>
                        <a:pt x="76053" y="41173"/>
                        <a:pt x="83577" y="27361"/>
                        <a:pt x="77291" y="17836"/>
                      </a:cubicBezTo>
                      <a:cubicBezTo>
                        <a:pt x="70242" y="7073"/>
                        <a:pt x="54336" y="10121"/>
                        <a:pt x="34428" y="23075"/>
                      </a:cubicBezTo>
                      <a:cubicBezTo>
                        <a:pt x="15283" y="35553"/>
                        <a:pt x="5853" y="48697"/>
                        <a:pt x="12997" y="59556"/>
                      </a:cubicBezTo>
                      <a:cubicBezTo>
                        <a:pt x="18998" y="68795"/>
                        <a:pt x="34619" y="68129"/>
                        <a:pt x="55860" y="5431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21" name="Freeform: Shape 220">
                  <a:extLst>
                    <a:ext uri="{FF2B5EF4-FFF2-40B4-BE49-F238E27FC236}">
                      <a16:creationId xmlns:a16="http://schemas.microsoft.com/office/drawing/2014/main" id="{505720D2-7475-FF9B-4DCE-5A37A35877B7}"/>
                    </a:ext>
                  </a:extLst>
                </p:cNvPr>
                <p:cNvSpPr/>
                <p:nvPr/>
              </p:nvSpPr>
              <p:spPr>
                <a:xfrm>
                  <a:off x="4743735" y="4056125"/>
                  <a:ext cx="87248" cy="66579"/>
                </a:xfrm>
                <a:custGeom>
                  <a:avLst/>
                  <a:gdLst>
                    <a:gd name="connsiteX0" fmla="*/ 16097 w 87248"/>
                    <a:gd name="connsiteY0" fmla="*/ 49530 h 66579"/>
                    <a:gd name="connsiteX1" fmla="*/ 16097 w 87248"/>
                    <a:gd name="connsiteY1" fmla="*/ 49816 h 66579"/>
                    <a:gd name="connsiteX2" fmla="*/ 31623 w 87248"/>
                    <a:gd name="connsiteY2" fmla="*/ 59817 h 66579"/>
                    <a:gd name="connsiteX3" fmla="*/ 24384 w 87248"/>
                    <a:gd name="connsiteY3" fmla="*/ 66580 h 66579"/>
                    <a:gd name="connsiteX4" fmla="*/ 5144 w 87248"/>
                    <a:gd name="connsiteY4" fmla="*/ 54007 h 66579"/>
                    <a:gd name="connsiteX5" fmla="*/ 0 w 87248"/>
                    <a:gd name="connsiteY5" fmla="*/ 44577 h 66579"/>
                    <a:gd name="connsiteX6" fmla="*/ 81439 w 87248"/>
                    <a:gd name="connsiteY6" fmla="*/ 0 h 66579"/>
                    <a:gd name="connsiteX7" fmla="*/ 87249 w 87248"/>
                    <a:gd name="connsiteY7" fmla="*/ 10668 h 66579"/>
                    <a:gd name="connsiteX8" fmla="*/ 16097 w 87248"/>
                    <a:gd name="connsiteY8" fmla="*/ 49625 h 6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248" h="66579">
                      <a:moveTo>
                        <a:pt x="16097" y="49530"/>
                      </a:moveTo>
                      <a:lnTo>
                        <a:pt x="16097" y="49816"/>
                      </a:lnTo>
                      <a:cubicBezTo>
                        <a:pt x="16097" y="49816"/>
                        <a:pt x="31623" y="59817"/>
                        <a:pt x="31623" y="59817"/>
                      </a:cubicBezTo>
                      <a:lnTo>
                        <a:pt x="24384" y="66580"/>
                      </a:lnTo>
                      <a:lnTo>
                        <a:pt x="5144" y="54007"/>
                      </a:lnTo>
                      <a:lnTo>
                        <a:pt x="0" y="44577"/>
                      </a:lnTo>
                      <a:lnTo>
                        <a:pt x="81439" y="0"/>
                      </a:lnTo>
                      <a:lnTo>
                        <a:pt x="87249" y="10668"/>
                      </a:lnTo>
                      <a:lnTo>
                        <a:pt x="16097" y="49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22" name="Freeform: Shape 221">
                  <a:extLst>
                    <a:ext uri="{FF2B5EF4-FFF2-40B4-BE49-F238E27FC236}">
                      <a16:creationId xmlns:a16="http://schemas.microsoft.com/office/drawing/2014/main" id="{10CFE0E6-FA88-2553-D1F2-D13A2F236BAC}"/>
                    </a:ext>
                  </a:extLst>
                </p:cNvPr>
                <p:cNvSpPr/>
                <p:nvPr/>
              </p:nvSpPr>
              <p:spPr>
                <a:xfrm>
                  <a:off x="4695963" y="3948684"/>
                  <a:ext cx="92961" cy="71785"/>
                </a:xfrm>
                <a:custGeom>
                  <a:avLst/>
                  <a:gdLst>
                    <a:gd name="connsiteX0" fmla="*/ 32722 w 92961"/>
                    <a:gd name="connsiteY0" fmla="*/ 7715 h 71785"/>
                    <a:gd name="connsiteX1" fmla="*/ 90634 w 92961"/>
                    <a:gd name="connsiteY1" fmla="*/ 17049 h 71785"/>
                    <a:gd name="connsiteX2" fmla="*/ 59773 w 92961"/>
                    <a:gd name="connsiteY2" fmla="*/ 64674 h 71785"/>
                    <a:gd name="connsiteX3" fmla="*/ 2528 w 92961"/>
                    <a:gd name="connsiteY3" fmla="*/ 55054 h 71785"/>
                    <a:gd name="connsiteX4" fmla="*/ 32722 w 92961"/>
                    <a:gd name="connsiteY4" fmla="*/ 7715 h 71785"/>
                    <a:gd name="connsiteX5" fmla="*/ 54725 w 92961"/>
                    <a:gd name="connsiteY5" fmla="*/ 53054 h 71785"/>
                    <a:gd name="connsiteX6" fmla="*/ 81490 w 92961"/>
                    <a:gd name="connsiteY6" fmla="*/ 20288 h 71785"/>
                    <a:gd name="connsiteX7" fmla="*/ 38342 w 92961"/>
                    <a:gd name="connsiteY7" fmla="*/ 18859 h 71785"/>
                    <a:gd name="connsiteX8" fmla="*/ 11577 w 92961"/>
                    <a:gd name="connsiteY8" fmla="*/ 51625 h 71785"/>
                    <a:gd name="connsiteX9" fmla="*/ 54630 w 92961"/>
                    <a:gd name="connsiteY9" fmla="*/ 53054 h 7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61" h="71785">
                      <a:moveTo>
                        <a:pt x="32722" y="7715"/>
                      </a:moveTo>
                      <a:cubicBezTo>
                        <a:pt x="61488" y="-5240"/>
                        <a:pt x="82252" y="-1715"/>
                        <a:pt x="90634" y="17049"/>
                      </a:cubicBezTo>
                      <a:cubicBezTo>
                        <a:pt x="98064" y="33623"/>
                        <a:pt x="87681" y="51815"/>
                        <a:pt x="59773" y="64674"/>
                      </a:cubicBezTo>
                      <a:cubicBezTo>
                        <a:pt x="31389" y="77438"/>
                        <a:pt x="10243" y="72294"/>
                        <a:pt x="2528" y="55054"/>
                      </a:cubicBezTo>
                      <a:cubicBezTo>
                        <a:pt x="-5473" y="37242"/>
                        <a:pt x="5766" y="19906"/>
                        <a:pt x="32722" y="7715"/>
                      </a:cubicBezTo>
                      <a:close/>
                      <a:moveTo>
                        <a:pt x="54725" y="53054"/>
                      </a:moveTo>
                      <a:cubicBezTo>
                        <a:pt x="76728" y="43148"/>
                        <a:pt x="86157" y="30765"/>
                        <a:pt x="81490" y="20288"/>
                      </a:cubicBezTo>
                      <a:cubicBezTo>
                        <a:pt x="76251" y="8572"/>
                        <a:pt x="59964" y="9143"/>
                        <a:pt x="38342" y="18859"/>
                      </a:cubicBezTo>
                      <a:cubicBezTo>
                        <a:pt x="17482" y="28289"/>
                        <a:pt x="6243" y="39719"/>
                        <a:pt x="11577" y="51625"/>
                      </a:cubicBezTo>
                      <a:cubicBezTo>
                        <a:pt x="16053" y="61626"/>
                        <a:pt x="31579" y="63436"/>
                        <a:pt x="54630" y="5305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23" name="Freeform: Shape 222">
                  <a:extLst>
                    <a:ext uri="{FF2B5EF4-FFF2-40B4-BE49-F238E27FC236}">
                      <a16:creationId xmlns:a16="http://schemas.microsoft.com/office/drawing/2014/main" id="{645964C3-60C3-CA01-C5EB-C8B4E70F7B5B}"/>
                    </a:ext>
                  </a:extLst>
                </p:cNvPr>
                <p:cNvSpPr/>
                <p:nvPr/>
              </p:nvSpPr>
              <p:spPr>
                <a:xfrm>
                  <a:off x="4627390" y="3741606"/>
                  <a:ext cx="94952" cy="67179"/>
                </a:xfrm>
                <a:custGeom>
                  <a:avLst/>
                  <a:gdLst>
                    <a:gd name="connsiteX0" fmla="*/ 38049 w 94952"/>
                    <a:gd name="connsiteY0" fmla="*/ 3623 h 67179"/>
                    <a:gd name="connsiteX1" fmla="*/ 93961 w 94952"/>
                    <a:gd name="connsiteY1" fmla="*/ 21530 h 67179"/>
                    <a:gd name="connsiteX2" fmla="*/ 56242 w 94952"/>
                    <a:gd name="connsiteY2" fmla="*/ 63916 h 67179"/>
                    <a:gd name="connsiteX3" fmla="*/ 1092 w 94952"/>
                    <a:gd name="connsiteY3" fmla="*/ 45819 h 67179"/>
                    <a:gd name="connsiteX4" fmla="*/ 38144 w 94952"/>
                    <a:gd name="connsiteY4" fmla="*/ 3623 h 67179"/>
                    <a:gd name="connsiteX5" fmla="*/ 53003 w 94952"/>
                    <a:gd name="connsiteY5" fmla="*/ 51819 h 67179"/>
                    <a:gd name="connsiteX6" fmla="*/ 84436 w 94952"/>
                    <a:gd name="connsiteY6" fmla="*/ 23530 h 67179"/>
                    <a:gd name="connsiteX7" fmla="*/ 42050 w 94952"/>
                    <a:gd name="connsiteY7" fmla="*/ 15624 h 67179"/>
                    <a:gd name="connsiteX8" fmla="*/ 10617 w 94952"/>
                    <a:gd name="connsiteY8" fmla="*/ 43914 h 67179"/>
                    <a:gd name="connsiteX9" fmla="*/ 53003 w 94952"/>
                    <a:gd name="connsiteY9" fmla="*/ 51819 h 6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952" h="67179">
                      <a:moveTo>
                        <a:pt x="38049" y="3623"/>
                      </a:moveTo>
                      <a:cubicBezTo>
                        <a:pt x="68434" y="-4854"/>
                        <a:pt x="88436" y="1718"/>
                        <a:pt x="93961" y="21530"/>
                      </a:cubicBezTo>
                      <a:cubicBezTo>
                        <a:pt x="98819" y="38961"/>
                        <a:pt x="85769" y="55439"/>
                        <a:pt x="56242" y="63916"/>
                      </a:cubicBezTo>
                      <a:cubicBezTo>
                        <a:pt x="26238" y="72298"/>
                        <a:pt x="6140" y="63916"/>
                        <a:pt x="1092" y="45819"/>
                      </a:cubicBezTo>
                      <a:cubicBezTo>
                        <a:pt x="-4147" y="26959"/>
                        <a:pt x="9665" y="11529"/>
                        <a:pt x="38144" y="3623"/>
                      </a:cubicBezTo>
                      <a:close/>
                      <a:moveTo>
                        <a:pt x="53003" y="51819"/>
                      </a:moveTo>
                      <a:cubicBezTo>
                        <a:pt x="76244" y="45342"/>
                        <a:pt x="87484" y="34484"/>
                        <a:pt x="84436" y="23530"/>
                      </a:cubicBezTo>
                      <a:cubicBezTo>
                        <a:pt x="81007" y="11148"/>
                        <a:pt x="64910" y="9243"/>
                        <a:pt x="42050" y="15624"/>
                      </a:cubicBezTo>
                      <a:cubicBezTo>
                        <a:pt x="20047" y="21720"/>
                        <a:pt x="7188" y="31436"/>
                        <a:pt x="10617" y="43914"/>
                      </a:cubicBezTo>
                      <a:cubicBezTo>
                        <a:pt x="13570" y="54486"/>
                        <a:pt x="28619" y="58582"/>
                        <a:pt x="53003" y="518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24" name="Freeform: Shape 223">
                  <a:extLst>
                    <a:ext uri="{FF2B5EF4-FFF2-40B4-BE49-F238E27FC236}">
                      <a16:creationId xmlns:a16="http://schemas.microsoft.com/office/drawing/2014/main" id="{ED6EE200-1B2C-9B98-7E4D-9C05B0EB2C2E}"/>
                    </a:ext>
                  </a:extLst>
                </p:cNvPr>
                <p:cNvSpPr/>
                <p:nvPr/>
              </p:nvSpPr>
              <p:spPr>
                <a:xfrm>
                  <a:off x="4605432" y="3647503"/>
                  <a:ext cx="93440" cy="46196"/>
                </a:xfrm>
                <a:custGeom>
                  <a:avLst/>
                  <a:gdLst>
                    <a:gd name="connsiteX0" fmla="*/ 13906 w 93440"/>
                    <a:gd name="connsiteY0" fmla="*/ 27527 h 46196"/>
                    <a:gd name="connsiteX1" fmla="*/ 13906 w 93440"/>
                    <a:gd name="connsiteY1" fmla="*/ 27813 h 46196"/>
                    <a:gd name="connsiteX2" fmla="*/ 25622 w 93440"/>
                    <a:gd name="connsiteY2" fmla="*/ 42005 h 46196"/>
                    <a:gd name="connsiteX3" fmla="*/ 16669 w 93440"/>
                    <a:gd name="connsiteY3" fmla="*/ 46196 h 46196"/>
                    <a:gd name="connsiteX4" fmla="*/ 2095 w 93440"/>
                    <a:gd name="connsiteY4" fmla="*/ 28384 h 46196"/>
                    <a:gd name="connsiteX5" fmla="*/ 0 w 93440"/>
                    <a:gd name="connsiteY5" fmla="*/ 17907 h 46196"/>
                    <a:gd name="connsiteX6" fmla="*/ 91059 w 93440"/>
                    <a:gd name="connsiteY6" fmla="*/ 0 h 46196"/>
                    <a:gd name="connsiteX7" fmla="*/ 93440 w 93440"/>
                    <a:gd name="connsiteY7" fmla="*/ 11906 h 46196"/>
                    <a:gd name="connsiteX8" fmla="*/ 13906 w 93440"/>
                    <a:gd name="connsiteY8" fmla="*/ 27622 h 4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440" h="46196">
                      <a:moveTo>
                        <a:pt x="13906" y="27527"/>
                      </a:moveTo>
                      <a:lnTo>
                        <a:pt x="13906" y="27813"/>
                      </a:lnTo>
                      <a:cubicBezTo>
                        <a:pt x="13906" y="27813"/>
                        <a:pt x="25622" y="42005"/>
                        <a:pt x="25622" y="42005"/>
                      </a:cubicBezTo>
                      <a:lnTo>
                        <a:pt x="16669" y="46196"/>
                      </a:lnTo>
                      <a:lnTo>
                        <a:pt x="2095" y="28384"/>
                      </a:lnTo>
                      <a:lnTo>
                        <a:pt x="0" y="17907"/>
                      </a:lnTo>
                      <a:lnTo>
                        <a:pt x="91059" y="0"/>
                      </a:lnTo>
                      <a:lnTo>
                        <a:pt x="93440" y="11906"/>
                      </a:lnTo>
                      <a:lnTo>
                        <a:pt x="13906" y="2762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25" name="Freeform: Shape 224">
                  <a:extLst>
                    <a:ext uri="{FF2B5EF4-FFF2-40B4-BE49-F238E27FC236}">
                      <a16:creationId xmlns:a16="http://schemas.microsoft.com/office/drawing/2014/main" id="{15D361FB-310A-EB6A-20AC-54E3E449EF6D}"/>
                    </a:ext>
                  </a:extLst>
                </p:cNvPr>
                <p:cNvSpPr/>
                <p:nvPr/>
              </p:nvSpPr>
              <p:spPr>
                <a:xfrm>
                  <a:off x="4591405" y="3522127"/>
                  <a:ext cx="95844" cy="63879"/>
                </a:xfrm>
                <a:custGeom>
                  <a:avLst/>
                  <a:gdLst>
                    <a:gd name="connsiteX0" fmla="*/ 43173 w 95844"/>
                    <a:gd name="connsiteY0" fmla="*/ 788 h 63879"/>
                    <a:gd name="connsiteX1" fmla="*/ 95656 w 95844"/>
                    <a:gd name="connsiteY1" fmla="*/ 27077 h 63879"/>
                    <a:gd name="connsiteX2" fmla="*/ 51936 w 95844"/>
                    <a:gd name="connsiteY2" fmla="*/ 63177 h 63879"/>
                    <a:gd name="connsiteX3" fmla="*/ 216 w 95844"/>
                    <a:gd name="connsiteY3" fmla="*/ 36793 h 63879"/>
                    <a:gd name="connsiteX4" fmla="*/ 43269 w 95844"/>
                    <a:gd name="connsiteY4" fmla="*/ 788 h 63879"/>
                    <a:gd name="connsiteX5" fmla="*/ 50508 w 95844"/>
                    <a:gd name="connsiteY5" fmla="*/ 50699 h 63879"/>
                    <a:gd name="connsiteX6" fmla="*/ 85845 w 95844"/>
                    <a:gd name="connsiteY6" fmla="*/ 27458 h 63879"/>
                    <a:gd name="connsiteX7" fmla="*/ 45174 w 95844"/>
                    <a:gd name="connsiteY7" fmla="*/ 13171 h 63879"/>
                    <a:gd name="connsiteX8" fmla="*/ 9836 w 95844"/>
                    <a:gd name="connsiteY8" fmla="*/ 36412 h 63879"/>
                    <a:gd name="connsiteX9" fmla="*/ 50508 w 95844"/>
                    <a:gd name="connsiteY9" fmla="*/ 50699 h 6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844" h="63879">
                      <a:moveTo>
                        <a:pt x="43173" y="788"/>
                      </a:moveTo>
                      <a:cubicBezTo>
                        <a:pt x="74511" y="-2927"/>
                        <a:pt x="93180" y="6598"/>
                        <a:pt x="95656" y="27077"/>
                      </a:cubicBezTo>
                      <a:cubicBezTo>
                        <a:pt x="97752" y="45079"/>
                        <a:pt x="82321" y="59272"/>
                        <a:pt x="51936" y="63177"/>
                      </a:cubicBezTo>
                      <a:cubicBezTo>
                        <a:pt x="20980" y="66892"/>
                        <a:pt x="2406" y="55557"/>
                        <a:pt x="216" y="36793"/>
                      </a:cubicBezTo>
                      <a:cubicBezTo>
                        <a:pt x="-2070" y="17362"/>
                        <a:pt x="13932" y="4217"/>
                        <a:pt x="43269" y="788"/>
                      </a:cubicBezTo>
                      <a:close/>
                      <a:moveTo>
                        <a:pt x="50508" y="50699"/>
                      </a:moveTo>
                      <a:cubicBezTo>
                        <a:pt x="74511" y="47842"/>
                        <a:pt x="87179" y="38888"/>
                        <a:pt x="85845" y="27458"/>
                      </a:cubicBezTo>
                      <a:cubicBezTo>
                        <a:pt x="84321" y="14695"/>
                        <a:pt x="68700" y="10408"/>
                        <a:pt x="45174" y="13171"/>
                      </a:cubicBezTo>
                      <a:cubicBezTo>
                        <a:pt x="22504" y="15838"/>
                        <a:pt x="8312" y="23458"/>
                        <a:pt x="9836" y="36412"/>
                      </a:cubicBezTo>
                      <a:cubicBezTo>
                        <a:pt x="11169" y="47365"/>
                        <a:pt x="25362" y="53652"/>
                        <a:pt x="50508" y="5069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26" name="Freeform: Shape 225">
                  <a:extLst>
                    <a:ext uri="{FF2B5EF4-FFF2-40B4-BE49-F238E27FC236}">
                      <a16:creationId xmlns:a16="http://schemas.microsoft.com/office/drawing/2014/main" id="{5E1DACB2-1C45-C93E-2ACF-77F145BF7749}"/>
                    </a:ext>
                  </a:extLst>
                </p:cNvPr>
                <p:cNvSpPr/>
                <p:nvPr/>
              </p:nvSpPr>
              <p:spPr>
                <a:xfrm>
                  <a:off x="4587334" y="3430618"/>
                  <a:ext cx="93440" cy="35147"/>
                </a:xfrm>
                <a:custGeom>
                  <a:avLst/>
                  <a:gdLst>
                    <a:gd name="connsiteX0" fmla="*/ 12382 w 93440"/>
                    <a:gd name="connsiteY0" fmla="*/ 16192 h 35147"/>
                    <a:gd name="connsiteX1" fmla="*/ 12382 w 93440"/>
                    <a:gd name="connsiteY1" fmla="*/ 16478 h 35147"/>
                    <a:gd name="connsiteX2" fmla="*/ 21907 w 93440"/>
                    <a:gd name="connsiteY2" fmla="*/ 32195 h 35147"/>
                    <a:gd name="connsiteX3" fmla="*/ 12478 w 93440"/>
                    <a:gd name="connsiteY3" fmla="*/ 35147 h 35147"/>
                    <a:gd name="connsiteX4" fmla="*/ 571 w 93440"/>
                    <a:gd name="connsiteY4" fmla="*/ 15430 h 35147"/>
                    <a:gd name="connsiteX5" fmla="*/ 0 w 93440"/>
                    <a:gd name="connsiteY5" fmla="*/ 4763 h 35147"/>
                    <a:gd name="connsiteX6" fmla="*/ 92774 w 93440"/>
                    <a:gd name="connsiteY6" fmla="*/ 0 h 35147"/>
                    <a:gd name="connsiteX7" fmla="*/ 93440 w 93440"/>
                    <a:gd name="connsiteY7" fmla="*/ 12097 h 35147"/>
                    <a:gd name="connsiteX8" fmla="*/ 12382 w 93440"/>
                    <a:gd name="connsiteY8" fmla="*/ 16192 h 3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440" h="35147">
                      <a:moveTo>
                        <a:pt x="12382" y="16192"/>
                      </a:moveTo>
                      <a:lnTo>
                        <a:pt x="12382" y="16478"/>
                      </a:lnTo>
                      <a:cubicBezTo>
                        <a:pt x="12382" y="16478"/>
                        <a:pt x="21907" y="32195"/>
                        <a:pt x="21907" y="32195"/>
                      </a:cubicBezTo>
                      <a:lnTo>
                        <a:pt x="12478" y="35147"/>
                      </a:lnTo>
                      <a:lnTo>
                        <a:pt x="571" y="15430"/>
                      </a:lnTo>
                      <a:lnTo>
                        <a:pt x="0" y="4763"/>
                      </a:lnTo>
                      <a:lnTo>
                        <a:pt x="92774" y="0"/>
                      </a:lnTo>
                      <a:lnTo>
                        <a:pt x="93440" y="12097"/>
                      </a:lnTo>
                      <a:lnTo>
                        <a:pt x="12382" y="1619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27" name="Freeform: Shape 226">
                  <a:extLst>
                    <a:ext uri="{FF2B5EF4-FFF2-40B4-BE49-F238E27FC236}">
                      <a16:creationId xmlns:a16="http://schemas.microsoft.com/office/drawing/2014/main" id="{F07FAF69-1B4F-3564-0C70-A9473D42D62D}"/>
                    </a:ext>
                  </a:extLst>
                </p:cNvPr>
                <p:cNvSpPr/>
                <p:nvPr/>
              </p:nvSpPr>
              <p:spPr>
                <a:xfrm>
                  <a:off x="4589511" y="3298733"/>
                  <a:ext cx="96045" cy="63149"/>
                </a:xfrm>
                <a:custGeom>
                  <a:avLst/>
                  <a:gdLst>
                    <a:gd name="connsiteX0" fmla="*/ 48115 w 96045"/>
                    <a:gd name="connsiteY0" fmla="*/ 59 h 63149"/>
                    <a:gd name="connsiteX1" fmla="*/ 96026 w 96045"/>
                    <a:gd name="connsiteY1" fmla="*/ 33968 h 63149"/>
                    <a:gd name="connsiteX2" fmla="*/ 47258 w 96045"/>
                    <a:gd name="connsiteY2" fmla="*/ 63115 h 63149"/>
                    <a:gd name="connsiteX3" fmla="*/ 14 w 96045"/>
                    <a:gd name="connsiteY3" fmla="*/ 29206 h 63149"/>
                    <a:gd name="connsiteX4" fmla="*/ 48020 w 96045"/>
                    <a:gd name="connsiteY4" fmla="*/ 59 h 63149"/>
                    <a:gd name="connsiteX5" fmla="*/ 47830 w 96045"/>
                    <a:gd name="connsiteY5" fmla="*/ 50542 h 63149"/>
                    <a:gd name="connsiteX6" fmla="*/ 86311 w 96045"/>
                    <a:gd name="connsiteY6" fmla="*/ 32920 h 63149"/>
                    <a:gd name="connsiteX7" fmla="*/ 48211 w 96045"/>
                    <a:gd name="connsiteY7" fmla="*/ 12632 h 63149"/>
                    <a:gd name="connsiteX8" fmla="*/ 9730 w 96045"/>
                    <a:gd name="connsiteY8" fmla="*/ 30253 h 63149"/>
                    <a:gd name="connsiteX9" fmla="*/ 47830 w 96045"/>
                    <a:gd name="connsiteY9" fmla="*/ 50542 h 6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045" h="63149">
                      <a:moveTo>
                        <a:pt x="48115" y="59"/>
                      </a:moveTo>
                      <a:cubicBezTo>
                        <a:pt x="79643" y="1107"/>
                        <a:pt x="96693" y="13394"/>
                        <a:pt x="96026" y="33968"/>
                      </a:cubicBezTo>
                      <a:cubicBezTo>
                        <a:pt x="95455" y="52161"/>
                        <a:pt x="78024" y="63877"/>
                        <a:pt x="47258" y="63115"/>
                      </a:cubicBezTo>
                      <a:cubicBezTo>
                        <a:pt x="16111" y="62067"/>
                        <a:pt x="-557" y="48065"/>
                        <a:pt x="14" y="29206"/>
                      </a:cubicBezTo>
                      <a:cubicBezTo>
                        <a:pt x="681" y="9679"/>
                        <a:pt x="18493" y="-893"/>
                        <a:pt x="48020" y="59"/>
                      </a:cubicBezTo>
                      <a:close/>
                      <a:moveTo>
                        <a:pt x="47830" y="50542"/>
                      </a:moveTo>
                      <a:cubicBezTo>
                        <a:pt x="72023" y="51399"/>
                        <a:pt x="85930" y="44350"/>
                        <a:pt x="86311" y="32920"/>
                      </a:cubicBezTo>
                      <a:cubicBezTo>
                        <a:pt x="86692" y="20062"/>
                        <a:pt x="71928" y="13394"/>
                        <a:pt x="48211" y="12632"/>
                      </a:cubicBezTo>
                      <a:cubicBezTo>
                        <a:pt x="25351" y="11870"/>
                        <a:pt x="10111" y="17204"/>
                        <a:pt x="9730" y="30253"/>
                      </a:cubicBezTo>
                      <a:cubicBezTo>
                        <a:pt x="9349" y="41302"/>
                        <a:pt x="22493" y="49684"/>
                        <a:pt x="47830" y="5054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28" name="Freeform: Shape 227">
                  <a:extLst>
                    <a:ext uri="{FF2B5EF4-FFF2-40B4-BE49-F238E27FC236}">
                      <a16:creationId xmlns:a16="http://schemas.microsoft.com/office/drawing/2014/main" id="{8F6FE796-A3FC-917B-BB42-2C4E95F95BC5}"/>
                    </a:ext>
                  </a:extLst>
                </p:cNvPr>
                <p:cNvSpPr/>
                <p:nvPr/>
              </p:nvSpPr>
              <p:spPr>
                <a:xfrm>
                  <a:off x="4603146" y="3204685"/>
                  <a:ext cx="93440" cy="32004"/>
                </a:xfrm>
                <a:custGeom>
                  <a:avLst/>
                  <a:gdLst>
                    <a:gd name="connsiteX0" fmla="*/ 11525 w 93440"/>
                    <a:gd name="connsiteY0" fmla="*/ 13335 h 32004"/>
                    <a:gd name="connsiteX1" fmla="*/ 11525 w 93440"/>
                    <a:gd name="connsiteY1" fmla="*/ 13621 h 32004"/>
                    <a:gd name="connsiteX2" fmla="*/ 18383 w 93440"/>
                    <a:gd name="connsiteY2" fmla="*/ 30671 h 32004"/>
                    <a:gd name="connsiteX3" fmla="*/ 8572 w 93440"/>
                    <a:gd name="connsiteY3" fmla="*/ 32004 h 32004"/>
                    <a:gd name="connsiteX4" fmla="*/ 0 w 93440"/>
                    <a:gd name="connsiteY4" fmla="*/ 10668 h 32004"/>
                    <a:gd name="connsiteX5" fmla="*/ 1143 w 93440"/>
                    <a:gd name="connsiteY5" fmla="*/ 0 h 32004"/>
                    <a:gd name="connsiteX6" fmla="*/ 93440 w 93440"/>
                    <a:gd name="connsiteY6" fmla="*/ 10192 h 32004"/>
                    <a:gd name="connsiteX7" fmla="*/ 92107 w 93440"/>
                    <a:gd name="connsiteY7" fmla="*/ 22288 h 32004"/>
                    <a:gd name="connsiteX8" fmla="*/ 11430 w 93440"/>
                    <a:gd name="connsiteY8" fmla="*/ 13335 h 32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440" h="32004">
                      <a:moveTo>
                        <a:pt x="11525" y="13335"/>
                      </a:moveTo>
                      <a:lnTo>
                        <a:pt x="11525" y="13621"/>
                      </a:lnTo>
                      <a:cubicBezTo>
                        <a:pt x="11525" y="13621"/>
                        <a:pt x="18383" y="30671"/>
                        <a:pt x="18383" y="30671"/>
                      </a:cubicBezTo>
                      <a:lnTo>
                        <a:pt x="8572" y="32004"/>
                      </a:lnTo>
                      <a:lnTo>
                        <a:pt x="0" y="10668"/>
                      </a:lnTo>
                      <a:lnTo>
                        <a:pt x="1143" y="0"/>
                      </a:lnTo>
                      <a:lnTo>
                        <a:pt x="93440" y="10192"/>
                      </a:lnTo>
                      <a:lnTo>
                        <a:pt x="92107" y="22288"/>
                      </a:lnTo>
                      <a:lnTo>
                        <a:pt x="11430" y="133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29" name="Freeform: Shape 228">
                  <a:extLst>
                    <a:ext uri="{FF2B5EF4-FFF2-40B4-BE49-F238E27FC236}">
                      <a16:creationId xmlns:a16="http://schemas.microsoft.com/office/drawing/2014/main" id="{4D006EBF-D1D8-A2E3-F18F-11F09D7AE4CC}"/>
                    </a:ext>
                  </a:extLst>
                </p:cNvPr>
                <p:cNvSpPr/>
                <p:nvPr/>
              </p:nvSpPr>
              <p:spPr>
                <a:xfrm>
                  <a:off x="4622436" y="3075735"/>
                  <a:ext cx="95116" cy="65471"/>
                </a:xfrm>
                <a:custGeom>
                  <a:avLst/>
                  <a:gdLst>
                    <a:gd name="connsiteX0" fmla="*/ 52338 w 95116"/>
                    <a:gd name="connsiteY0" fmla="*/ 1792 h 65471"/>
                    <a:gd name="connsiteX1" fmla="*/ 94534 w 95116"/>
                    <a:gd name="connsiteY1" fmla="*/ 42559 h 65471"/>
                    <a:gd name="connsiteX2" fmla="*/ 41956 w 95116"/>
                    <a:gd name="connsiteY2" fmla="*/ 63895 h 65471"/>
                    <a:gd name="connsiteX3" fmla="*/ 522 w 95116"/>
                    <a:gd name="connsiteY3" fmla="*/ 23223 h 65471"/>
                    <a:gd name="connsiteX4" fmla="*/ 52433 w 95116"/>
                    <a:gd name="connsiteY4" fmla="*/ 1696 h 65471"/>
                    <a:gd name="connsiteX5" fmla="*/ 44432 w 95116"/>
                    <a:gd name="connsiteY5" fmla="*/ 51607 h 65471"/>
                    <a:gd name="connsiteX6" fmla="*/ 85104 w 95116"/>
                    <a:gd name="connsiteY6" fmla="*/ 40082 h 65471"/>
                    <a:gd name="connsiteX7" fmla="*/ 50528 w 95116"/>
                    <a:gd name="connsiteY7" fmla="*/ 14269 h 65471"/>
                    <a:gd name="connsiteX8" fmla="*/ 9856 w 95116"/>
                    <a:gd name="connsiteY8" fmla="*/ 25795 h 65471"/>
                    <a:gd name="connsiteX9" fmla="*/ 44337 w 95116"/>
                    <a:gd name="connsiteY9" fmla="*/ 51607 h 65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116" h="65471">
                      <a:moveTo>
                        <a:pt x="52338" y="1792"/>
                      </a:moveTo>
                      <a:cubicBezTo>
                        <a:pt x="83389" y="7602"/>
                        <a:pt x="98344" y="22366"/>
                        <a:pt x="94534" y="42559"/>
                      </a:cubicBezTo>
                      <a:cubicBezTo>
                        <a:pt x="91200" y="60370"/>
                        <a:pt x="72150" y="69324"/>
                        <a:pt x="41956" y="63895"/>
                      </a:cubicBezTo>
                      <a:cubicBezTo>
                        <a:pt x="11380" y="58084"/>
                        <a:pt x="-3002" y="41797"/>
                        <a:pt x="522" y="23223"/>
                      </a:cubicBezTo>
                      <a:cubicBezTo>
                        <a:pt x="4141" y="3982"/>
                        <a:pt x="23382" y="-3733"/>
                        <a:pt x="52433" y="1696"/>
                      </a:cubicBezTo>
                      <a:close/>
                      <a:moveTo>
                        <a:pt x="44432" y="51607"/>
                      </a:moveTo>
                      <a:cubicBezTo>
                        <a:pt x="68149" y="56084"/>
                        <a:pt x="83008" y="51322"/>
                        <a:pt x="85104" y="40082"/>
                      </a:cubicBezTo>
                      <a:cubicBezTo>
                        <a:pt x="87485" y="27414"/>
                        <a:pt x="73864" y="18651"/>
                        <a:pt x="50528" y="14269"/>
                      </a:cubicBezTo>
                      <a:cubicBezTo>
                        <a:pt x="28049" y="10078"/>
                        <a:pt x="12238" y="13031"/>
                        <a:pt x="9856" y="25795"/>
                      </a:cubicBezTo>
                      <a:cubicBezTo>
                        <a:pt x="7856" y="36558"/>
                        <a:pt x="19572" y="46940"/>
                        <a:pt x="44337" y="516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30" name="Freeform: Shape 229">
                  <a:extLst>
                    <a:ext uri="{FF2B5EF4-FFF2-40B4-BE49-F238E27FC236}">
                      <a16:creationId xmlns:a16="http://schemas.microsoft.com/office/drawing/2014/main" id="{FAB09F30-8DA9-5164-8F68-1B804DBF0A18}"/>
                    </a:ext>
                  </a:extLst>
                </p:cNvPr>
                <p:cNvSpPr/>
                <p:nvPr/>
              </p:nvSpPr>
              <p:spPr>
                <a:xfrm>
                  <a:off x="4687740" y="2863440"/>
                  <a:ext cx="93411" cy="69634"/>
                </a:xfrm>
                <a:custGeom>
                  <a:avLst/>
                  <a:gdLst>
                    <a:gd name="connsiteX0" fmla="*/ 56090 w 93411"/>
                    <a:gd name="connsiteY0" fmla="*/ 5012 h 69634"/>
                    <a:gd name="connsiteX1" fmla="*/ 91618 w 93411"/>
                    <a:gd name="connsiteY1" fmla="*/ 51685 h 69634"/>
                    <a:gd name="connsiteX2" fmla="*/ 36468 w 93411"/>
                    <a:gd name="connsiteY2" fmla="*/ 64829 h 69634"/>
                    <a:gd name="connsiteX3" fmla="*/ 1607 w 93411"/>
                    <a:gd name="connsiteY3" fmla="*/ 18347 h 69634"/>
                    <a:gd name="connsiteX4" fmla="*/ 56090 w 93411"/>
                    <a:gd name="connsiteY4" fmla="*/ 5012 h 69634"/>
                    <a:gd name="connsiteX5" fmla="*/ 40755 w 93411"/>
                    <a:gd name="connsiteY5" fmla="*/ 53018 h 69634"/>
                    <a:gd name="connsiteX6" fmla="*/ 82665 w 93411"/>
                    <a:gd name="connsiteY6" fmla="*/ 47780 h 69634"/>
                    <a:gd name="connsiteX7" fmla="*/ 52470 w 93411"/>
                    <a:gd name="connsiteY7" fmla="*/ 17014 h 69634"/>
                    <a:gd name="connsiteX8" fmla="*/ 10465 w 93411"/>
                    <a:gd name="connsiteY8" fmla="*/ 22253 h 69634"/>
                    <a:gd name="connsiteX9" fmla="*/ 40659 w 93411"/>
                    <a:gd name="connsiteY9" fmla="*/ 53018 h 6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11" h="69634">
                      <a:moveTo>
                        <a:pt x="56090" y="5012"/>
                      </a:moveTo>
                      <a:cubicBezTo>
                        <a:pt x="85903" y="15490"/>
                        <a:pt x="98381" y="32349"/>
                        <a:pt x="91618" y="51685"/>
                      </a:cubicBezTo>
                      <a:cubicBezTo>
                        <a:pt x="85617" y="68830"/>
                        <a:pt x="65520" y="74735"/>
                        <a:pt x="36468" y="64829"/>
                      </a:cubicBezTo>
                      <a:cubicBezTo>
                        <a:pt x="7131" y="54542"/>
                        <a:pt x="-4584" y="36159"/>
                        <a:pt x="1607" y="18347"/>
                      </a:cubicBezTo>
                      <a:cubicBezTo>
                        <a:pt x="8084" y="-131"/>
                        <a:pt x="28277" y="-4798"/>
                        <a:pt x="56090" y="5012"/>
                      </a:cubicBezTo>
                      <a:close/>
                      <a:moveTo>
                        <a:pt x="40755" y="53018"/>
                      </a:moveTo>
                      <a:cubicBezTo>
                        <a:pt x="63519" y="61019"/>
                        <a:pt x="78950" y="58543"/>
                        <a:pt x="82665" y="47780"/>
                      </a:cubicBezTo>
                      <a:cubicBezTo>
                        <a:pt x="86951" y="35683"/>
                        <a:pt x="74854" y="24920"/>
                        <a:pt x="52470" y="17014"/>
                      </a:cubicBezTo>
                      <a:cubicBezTo>
                        <a:pt x="30944" y="9394"/>
                        <a:pt x="14847" y="9965"/>
                        <a:pt x="10465" y="22253"/>
                      </a:cubicBezTo>
                      <a:cubicBezTo>
                        <a:pt x="6846" y="32635"/>
                        <a:pt x="16847" y="44636"/>
                        <a:pt x="40659" y="5301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31" name="Freeform: Shape 230">
                  <a:extLst>
                    <a:ext uri="{FF2B5EF4-FFF2-40B4-BE49-F238E27FC236}">
                      <a16:creationId xmlns:a16="http://schemas.microsoft.com/office/drawing/2014/main" id="{305BD3AF-C213-97FD-519F-1C6F844516C1}"/>
                    </a:ext>
                  </a:extLst>
                </p:cNvPr>
                <p:cNvSpPr/>
                <p:nvPr/>
              </p:nvSpPr>
              <p:spPr>
                <a:xfrm>
                  <a:off x="4736115" y="2768726"/>
                  <a:ext cx="89344" cy="48672"/>
                </a:xfrm>
                <a:custGeom>
                  <a:avLst/>
                  <a:gdLst>
                    <a:gd name="connsiteX0" fmla="*/ 10097 w 89344"/>
                    <a:gd name="connsiteY0" fmla="*/ 15811 h 48672"/>
                    <a:gd name="connsiteX1" fmla="*/ 10097 w 89344"/>
                    <a:gd name="connsiteY1" fmla="*/ 16097 h 48672"/>
                    <a:gd name="connsiteX2" fmla="*/ 11430 w 89344"/>
                    <a:gd name="connsiteY2" fmla="*/ 34385 h 48672"/>
                    <a:gd name="connsiteX3" fmla="*/ 1715 w 89344"/>
                    <a:gd name="connsiteY3" fmla="*/ 32766 h 48672"/>
                    <a:gd name="connsiteX4" fmla="*/ 0 w 89344"/>
                    <a:gd name="connsiteY4" fmla="*/ 9811 h 48672"/>
                    <a:gd name="connsiteX5" fmla="*/ 4381 w 89344"/>
                    <a:gd name="connsiteY5" fmla="*/ 0 h 48672"/>
                    <a:gd name="connsiteX6" fmla="*/ 89345 w 89344"/>
                    <a:gd name="connsiteY6" fmla="*/ 37529 h 48672"/>
                    <a:gd name="connsiteX7" fmla="*/ 84487 w 89344"/>
                    <a:gd name="connsiteY7" fmla="*/ 48673 h 48672"/>
                    <a:gd name="connsiteX8" fmla="*/ 10287 w 89344"/>
                    <a:gd name="connsiteY8" fmla="*/ 15907 h 48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44" h="48672">
                      <a:moveTo>
                        <a:pt x="10097" y="15811"/>
                      </a:moveTo>
                      <a:lnTo>
                        <a:pt x="10097" y="16097"/>
                      </a:lnTo>
                      <a:cubicBezTo>
                        <a:pt x="10097" y="16097"/>
                        <a:pt x="11430" y="34385"/>
                        <a:pt x="11430" y="34385"/>
                      </a:cubicBezTo>
                      <a:lnTo>
                        <a:pt x="1715" y="32766"/>
                      </a:lnTo>
                      <a:lnTo>
                        <a:pt x="0" y="9811"/>
                      </a:lnTo>
                      <a:lnTo>
                        <a:pt x="4381" y="0"/>
                      </a:lnTo>
                      <a:lnTo>
                        <a:pt x="89345" y="37529"/>
                      </a:lnTo>
                      <a:lnTo>
                        <a:pt x="84487" y="48673"/>
                      </a:lnTo>
                      <a:lnTo>
                        <a:pt x="10287" y="1590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32" name="Freeform: Shape 231">
                  <a:extLst>
                    <a:ext uri="{FF2B5EF4-FFF2-40B4-BE49-F238E27FC236}">
                      <a16:creationId xmlns:a16="http://schemas.microsoft.com/office/drawing/2014/main" id="{0826CD2D-3ADB-FAC0-F743-FBB82A063C71}"/>
                    </a:ext>
                  </a:extLst>
                </p:cNvPr>
                <p:cNvSpPr/>
                <p:nvPr/>
              </p:nvSpPr>
              <p:spPr>
                <a:xfrm>
                  <a:off x="4790217" y="2666904"/>
                  <a:ext cx="86963" cy="54578"/>
                </a:xfrm>
                <a:custGeom>
                  <a:avLst/>
                  <a:gdLst>
                    <a:gd name="connsiteX0" fmla="*/ 9620 w 86963"/>
                    <a:gd name="connsiteY0" fmla="*/ 16193 h 54578"/>
                    <a:gd name="connsiteX1" fmla="*/ 9620 w 86963"/>
                    <a:gd name="connsiteY1" fmla="*/ 16478 h 54578"/>
                    <a:gd name="connsiteX2" fmla="*/ 9620 w 86963"/>
                    <a:gd name="connsiteY2" fmla="*/ 34862 h 54578"/>
                    <a:gd name="connsiteX3" fmla="*/ 0 w 86963"/>
                    <a:gd name="connsiteY3" fmla="*/ 32480 h 54578"/>
                    <a:gd name="connsiteX4" fmla="*/ 0 w 86963"/>
                    <a:gd name="connsiteY4" fmla="*/ 9430 h 54578"/>
                    <a:gd name="connsiteX5" fmla="*/ 5144 w 86963"/>
                    <a:gd name="connsiteY5" fmla="*/ 0 h 54578"/>
                    <a:gd name="connsiteX6" fmla="*/ 86963 w 86963"/>
                    <a:gd name="connsiteY6" fmla="*/ 43910 h 54578"/>
                    <a:gd name="connsiteX7" fmla="*/ 81248 w 86963"/>
                    <a:gd name="connsiteY7" fmla="*/ 54578 h 54578"/>
                    <a:gd name="connsiteX8" fmla="*/ 9716 w 86963"/>
                    <a:gd name="connsiteY8" fmla="*/ 16193 h 5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63" h="54578">
                      <a:moveTo>
                        <a:pt x="9620" y="16193"/>
                      </a:moveTo>
                      <a:lnTo>
                        <a:pt x="9620" y="16478"/>
                      </a:lnTo>
                      <a:cubicBezTo>
                        <a:pt x="9620" y="16478"/>
                        <a:pt x="9620" y="34862"/>
                        <a:pt x="9620" y="34862"/>
                      </a:cubicBezTo>
                      <a:lnTo>
                        <a:pt x="0" y="32480"/>
                      </a:lnTo>
                      <a:lnTo>
                        <a:pt x="0" y="9430"/>
                      </a:lnTo>
                      <a:cubicBezTo>
                        <a:pt x="0" y="9430"/>
                        <a:pt x="5144" y="0"/>
                        <a:pt x="5144" y="0"/>
                      </a:cubicBezTo>
                      <a:lnTo>
                        <a:pt x="86963" y="43910"/>
                      </a:lnTo>
                      <a:lnTo>
                        <a:pt x="81248" y="54578"/>
                      </a:lnTo>
                      <a:lnTo>
                        <a:pt x="9716" y="1619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33" name="Freeform: Shape 232">
                  <a:extLst>
                    <a:ext uri="{FF2B5EF4-FFF2-40B4-BE49-F238E27FC236}">
                      <a16:creationId xmlns:a16="http://schemas.microsoft.com/office/drawing/2014/main" id="{F6F2DF2B-4E0B-D410-0FA0-F89A7B59E1F5}"/>
                    </a:ext>
                  </a:extLst>
                </p:cNvPr>
                <p:cNvSpPr/>
                <p:nvPr/>
              </p:nvSpPr>
              <p:spPr>
                <a:xfrm>
                  <a:off x="4850224" y="2569558"/>
                  <a:ext cx="85820" cy="60293"/>
                </a:xfrm>
                <a:custGeom>
                  <a:avLst/>
                  <a:gdLst>
                    <a:gd name="connsiteX0" fmla="*/ 10858 w 85820"/>
                    <a:gd name="connsiteY0" fmla="*/ 16574 h 60293"/>
                    <a:gd name="connsiteX1" fmla="*/ 10668 w 85820"/>
                    <a:gd name="connsiteY1" fmla="*/ 16859 h 60293"/>
                    <a:gd name="connsiteX2" fmla="*/ 9334 w 85820"/>
                    <a:gd name="connsiteY2" fmla="*/ 35147 h 60293"/>
                    <a:gd name="connsiteX3" fmla="*/ 0 w 85820"/>
                    <a:gd name="connsiteY3" fmla="*/ 32004 h 60293"/>
                    <a:gd name="connsiteX4" fmla="*/ 1810 w 85820"/>
                    <a:gd name="connsiteY4" fmla="*/ 9049 h 60293"/>
                    <a:gd name="connsiteX5" fmla="*/ 7620 w 85820"/>
                    <a:gd name="connsiteY5" fmla="*/ 0 h 60293"/>
                    <a:gd name="connsiteX6" fmla="*/ 85820 w 85820"/>
                    <a:gd name="connsiteY6" fmla="*/ 50102 h 60293"/>
                    <a:gd name="connsiteX7" fmla="*/ 79248 w 85820"/>
                    <a:gd name="connsiteY7" fmla="*/ 60293 h 60293"/>
                    <a:gd name="connsiteX8" fmla="*/ 10858 w 85820"/>
                    <a:gd name="connsiteY8" fmla="*/ 16574 h 60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820" h="60293">
                      <a:moveTo>
                        <a:pt x="10858" y="16574"/>
                      </a:moveTo>
                      <a:lnTo>
                        <a:pt x="10668" y="16859"/>
                      </a:lnTo>
                      <a:lnTo>
                        <a:pt x="9334" y="35147"/>
                      </a:lnTo>
                      <a:lnTo>
                        <a:pt x="0" y="32004"/>
                      </a:lnTo>
                      <a:lnTo>
                        <a:pt x="1810" y="9049"/>
                      </a:lnTo>
                      <a:lnTo>
                        <a:pt x="7620" y="0"/>
                      </a:lnTo>
                      <a:lnTo>
                        <a:pt x="85820" y="50102"/>
                      </a:lnTo>
                      <a:lnTo>
                        <a:pt x="79248" y="60293"/>
                      </a:lnTo>
                      <a:lnTo>
                        <a:pt x="10858" y="165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34" name="Freeform: Shape 233">
                  <a:extLst>
                    <a:ext uri="{FF2B5EF4-FFF2-40B4-BE49-F238E27FC236}">
                      <a16:creationId xmlns:a16="http://schemas.microsoft.com/office/drawing/2014/main" id="{479AE6E3-9DB9-72C1-D9EB-8D66FFF055F7}"/>
                    </a:ext>
                  </a:extLst>
                </p:cNvPr>
                <p:cNvSpPr/>
                <p:nvPr/>
              </p:nvSpPr>
              <p:spPr>
                <a:xfrm>
                  <a:off x="4917280" y="2477356"/>
                  <a:ext cx="84201" cy="65532"/>
                </a:xfrm>
                <a:custGeom>
                  <a:avLst/>
                  <a:gdLst>
                    <a:gd name="connsiteX0" fmla="*/ 12097 w 84201"/>
                    <a:gd name="connsiteY0" fmla="*/ 16859 h 65532"/>
                    <a:gd name="connsiteX1" fmla="*/ 11906 w 84201"/>
                    <a:gd name="connsiteY1" fmla="*/ 17050 h 65532"/>
                    <a:gd name="connsiteX2" fmla="*/ 9144 w 84201"/>
                    <a:gd name="connsiteY2" fmla="*/ 35147 h 65532"/>
                    <a:gd name="connsiteX3" fmla="*/ 0 w 84201"/>
                    <a:gd name="connsiteY3" fmla="*/ 31337 h 65532"/>
                    <a:gd name="connsiteX4" fmla="*/ 3524 w 84201"/>
                    <a:gd name="connsiteY4" fmla="*/ 8573 h 65532"/>
                    <a:gd name="connsiteX5" fmla="*/ 10001 w 84201"/>
                    <a:gd name="connsiteY5" fmla="*/ 0 h 65532"/>
                    <a:gd name="connsiteX6" fmla="*/ 84201 w 84201"/>
                    <a:gd name="connsiteY6" fmla="*/ 55817 h 65532"/>
                    <a:gd name="connsiteX7" fmla="*/ 76867 w 84201"/>
                    <a:gd name="connsiteY7" fmla="*/ 65532 h 65532"/>
                    <a:gd name="connsiteX8" fmla="*/ 12097 w 84201"/>
                    <a:gd name="connsiteY8" fmla="*/ 16764 h 6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01" h="65532">
                      <a:moveTo>
                        <a:pt x="12097" y="16859"/>
                      </a:moveTo>
                      <a:lnTo>
                        <a:pt x="11906" y="17050"/>
                      </a:lnTo>
                      <a:lnTo>
                        <a:pt x="9144" y="35147"/>
                      </a:lnTo>
                      <a:lnTo>
                        <a:pt x="0" y="31337"/>
                      </a:lnTo>
                      <a:lnTo>
                        <a:pt x="3524" y="8573"/>
                      </a:lnTo>
                      <a:lnTo>
                        <a:pt x="10001" y="0"/>
                      </a:lnTo>
                      <a:lnTo>
                        <a:pt x="84201" y="55817"/>
                      </a:lnTo>
                      <a:lnTo>
                        <a:pt x="76867" y="65532"/>
                      </a:lnTo>
                      <a:lnTo>
                        <a:pt x="12097" y="1676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35" name="Freeform: Shape 234">
                  <a:extLst>
                    <a:ext uri="{FF2B5EF4-FFF2-40B4-BE49-F238E27FC236}">
                      <a16:creationId xmlns:a16="http://schemas.microsoft.com/office/drawing/2014/main" id="{63E3A510-9F84-F0E0-8064-5546AABA8A18}"/>
                    </a:ext>
                  </a:extLst>
                </p:cNvPr>
                <p:cNvSpPr/>
                <p:nvPr/>
              </p:nvSpPr>
              <p:spPr>
                <a:xfrm>
                  <a:off x="4990190" y="2386850"/>
                  <a:ext cx="85333" cy="82453"/>
                </a:xfrm>
                <a:custGeom>
                  <a:avLst/>
                  <a:gdLst>
                    <a:gd name="connsiteX0" fmla="*/ 62535 w 85333"/>
                    <a:gd name="connsiteY0" fmla="*/ 17163 h 82453"/>
                    <a:gd name="connsiteX1" fmla="*/ 77966 w 85333"/>
                    <a:gd name="connsiteY1" fmla="*/ 73742 h 82453"/>
                    <a:gd name="connsiteX2" fmla="*/ 21864 w 85333"/>
                    <a:gd name="connsiteY2" fmla="*/ 65265 h 82453"/>
                    <a:gd name="connsiteX3" fmla="*/ 6909 w 85333"/>
                    <a:gd name="connsiteY3" fmla="*/ 9162 h 82453"/>
                    <a:gd name="connsiteX4" fmla="*/ 62440 w 85333"/>
                    <a:gd name="connsiteY4" fmla="*/ 17163 h 82453"/>
                    <a:gd name="connsiteX5" fmla="*/ 30341 w 85333"/>
                    <a:gd name="connsiteY5" fmla="*/ 55930 h 82453"/>
                    <a:gd name="connsiteX6" fmla="*/ 71203 w 85333"/>
                    <a:gd name="connsiteY6" fmla="*/ 66788 h 82453"/>
                    <a:gd name="connsiteX7" fmla="*/ 54630 w 85333"/>
                    <a:gd name="connsiteY7" fmla="*/ 26974 h 82453"/>
                    <a:gd name="connsiteX8" fmla="*/ 13767 w 85333"/>
                    <a:gd name="connsiteY8" fmla="*/ 16115 h 82453"/>
                    <a:gd name="connsiteX9" fmla="*/ 30246 w 85333"/>
                    <a:gd name="connsiteY9" fmla="*/ 55930 h 8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333" h="82453">
                      <a:moveTo>
                        <a:pt x="62535" y="17163"/>
                      </a:moveTo>
                      <a:cubicBezTo>
                        <a:pt x="86253" y="38023"/>
                        <a:pt x="91587" y="58311"/>
                        <a:pt x="77966" y="73742"/>
                      </a:cubicBezTo>
                      <a:cubicBezTo>
                        <a:pt x="65964" y="87363"/>
                        <a:pt x="45105" y="85362"/>
                        <a:pt x="21864" y="65265"/>
                      </a:cubicBezTo>
                      <a:cubicBezTo>
                        <a:pt x="-1473" y="44690"/>
                        <a:pt x="-5568" y="23259"/>
                        <a:pt x="6909" y="9162"/>
                      </a:cubicBezTo>
                      <a:cubicBezTo>
                        <a:pt x="19863" y="-5506"/>
                        <a:pt x="40247" y="-2363"/>
                        <a:pt x="62440" y="17163"/>
                      </a:cubicBezTo>
                      <a:close/>
                      <a:moveTo>
                        <a:pt x="30341" y="55930"/>
                      </a:moveTo>
                      <a:cubicBezTo>
                        <a:pt x="48438" y="71837"/>
                        <a:pt x="63678" y="75361"/>
                        <a:pt x="71203" y="66788"/>
                      </a:cubicBezTo>
                      <a:cubicBezTo>
                        <a:pt x="79680" y="57168"/>
                        <a:pt x="72441" y="42595"/>
                        <a:pt x="54630" y="26974"/>
                      </a:cubicBezTo>
                      <a:cubicBezTo>
                        <a:pt x="37485" y="11924"/>
                        <a:pt x="22340" y="6400"/>
                        <a:pt x="13767" y="16115"/>
                      </a:cubicBezTo>
                      <a:cubicBezTo>
                        <a:pt x="6528" y="24402"/>
                        <a:pt x="11291" y="39261"/>
                        <a:pt x="30246" y="5593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36" name="Freeform: Shape 235">
                  <a:extLst>
                    <a:ext uri="{FF2B5EF4-FFF2-40B4-BE49-F238E27FC236}">
                      <a16:creationId xmlns:a16="http://schemas.microsoft.com/office/drawing/2014/main" id="{DBEAB46A-ED9D-B87E-1DBB-F78BFABEE766}"/>
                    </a:ext>
                  </a:extLst>
                </p:cNvPr>
                <p:cNvSpPr/>
                <p:nvPr/>
              </p:nvSpPr>
              <p:spPr>
                <a:xfrm>
                  <a:off x="5071208" y="2307155"/>
                  <a:ext cx="83117" cy="84899"/>
                </a:xfrm>
                <a:custGeom>
                  <a:avLst/>
                  <a:gdLst>
                    <a:gd name="connsiteX0" fmla="*/ 63243 w 83117"/>
                    <a:gd name="connsiteY0" fmla="*/ 19992 h 84899"/>
                    <a:gd name="connsiteX1" fmla="*/ 74292 w 83117"/>
                    <a:gd name="connsiteY1" fmla="*/ 77618 h 84899"/>
                    <a:gd name="connsiteX2" fmla="*/ 18951 w 83117"/>
                    <a:gd name="connsiteY2" fmla="*/ 64855 h 84899"/>
                    <a:gd name="connsiteX3" fmla="*/ 8379 w 83117"/>
                    <a:gd name="connsiteY3" fmla="*/ 7705 h 84899"/>
                    <a:gd name="connsiteX4" fmla="*/ 63147 w 83117"/>
                    <a:gd name="connsiteY4" fmla="*/ 19897 h 84899"/>
                    <a:gd name="connsiteX5" fmla="*/ 28095 w 83117"/>
                    <a:gd name="connsiteY5" fmla="*/ 56187 h 84899"/>
                    <a:gd name="connsiteX6" fmla="*/ 68005 w 83117"/>
                    <a:gd name="connsiteY6" fmla="*/ 70093 h 84899"/>
                    <a:gd name="connsiteX7" fmla="*/ 54575 w 83117"/>
                    <a:gd name="connsiteY7" fmla="*/ 29136 h 84899"/>
                    <a:gd name="connsiteX8" fmla="*/ 14665 w 83117"/>
                    <a:gd name="connsiteY8" fmla="*/ 15229 h 84899"/>
                    <a:gd name="connsiteX9" fmla="*/ 28095 w 83117"/>
                    <a:gd name="connsiteY9" fmla="*/ 56187 h 8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117" h="84899">
                      <a:moveTo>
                        <a:pt x="63243" y="19992"/>
                      </a:moveTo>
                      <a:cubicBezTo>
                        <a:pt x="85245" y="42566"/>
                        <a:pt x="89055" y="63235"/>
                        <a:pt x="74292" y="77618"/>
                      </a:cubicBezTo>
                      <a:cubicBezTo>
                        <a:pt x="61338" y="90286"/>
                        <a:pt x="40668" y="86667"/>
                        <a:pt x="18951" y="64855"/>
                      </a:cubicBezTo>
                      <a:cubicBezTo>
                        <a:pt x="-2766" y="42566"/>
                        <a:pt x="-5147" y="20944"/>
                        <a:pt x="8379" y="7705"/>
                      </a:cubicBezTo>
                      <a:cubicBezTo>
                        <a:pt x="22380" y="-5916"/>
                        <a:pt x="42573" y="-1249"/>
                        <a:pt x="63147" y="19897"/>
                      </a:cubicBezTo>
                      <a:close/>
                      <a:moveTo>
                        <a:pt x="28095" y="56187"/>
                      </a:moveTo>
                      <a:cubicBezTo>
                        <a:pt x="44955" y="73522"/>
                        <a:pt x="59814" y="78094"/>
                        <a:pt x="68005" y="70093"/>
                      </a:cubicBezTo>
                      <a:cubicBezTo>
                        <a:pt x="77244" y="61140"/>
                        <a:pt x="71148" y="46090"/>
                        <a:pt x="54575" y="29136"/>
                      </a:cubicBezTo>
                      <a:cubicBezTo>
                        <a:pt x="38668" y="12753"/>
                        <a:pt x="24000" y="6085"/>
                        <a:pt x="14665" y="15229"/>
                      </a:cubicBezTo>
                      <a:cubicBezTo>
                        <a:pt x="6759" y="22945"/>
                        <a:pt x="10379" y="38089"/>
                        <a:pt x="28095" y="5618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37" name="Freeform: Shape 236">
                  <a:extLst>
                    <a:ext uri="{FF2B5EF4-FFF2-40B4-BE49-F238E27FC236}">
                      <a16:creationId xmlns:a16="http://schemas.microsoft.com/office/drawing/2014/main" id="{6447DE83-69B1-45A2-B414-F39E46428B91}"/>
                    </a:ext>
                  </a:extLst>
                </p:cNvPr>
                <p:cNvSpPr/>
                <p:nvPr/>
              </p:nvSpPr>
              <p:spPr>
                <a:xfrm>
                  <a:off x="5158111" y="2233876"/>
                  <a:ext cx="80758" cy="87062"/>
                </a:xfrm>
                <a:custGeom>
                  <a:avLst/>
                  <a:gdLst>
                    <a:gd name="connsiteX0" fmla="*/ 63684 w 80758"/>
                    <a:gd name="connsiteY0" fmla="*/ 22786 h 87062"/>
                    <a:gd name="connsiteX1" fmla="*/ 70351 w 80758"/>
                    <a:gd name="connsiteY1" fmla="*/ 81079 h 87062"/>
                    <a:gd name="connsiteX2" fmla="*/ 16154 w 80758"/>
                    <a:gd name="connsiteY2" fmla="*/ 64220 h 87062"/>
                    <a:gd name="connsiteX3" fmla="*/ 9963 w 80758"/>
                    <a:gd name="connsiteY3" fmla="*/ 6403 h 87062"/>
                    <a:gd name="connsiteX4" fmla="*/ 63684 w 80758"/>
                    <a:gd name="connsiteY4" fmla="*/ 22786 h 87062"/>
                    <a:gd name="connsiteX5" fmla="*/ 25965 w 80758"/>
                    <a:gd name="connsiteY5" fmla="*/ 56219 h 87062"/>
                    <a:gd name="connsiteX6" fmla="*/ 64732 w 80758"/>
                    <a:gd name="connsiteY6" fmla="*/ 73174 h 87062"/>
                    <a:gd name="connsiteX7" fmla="*/ 54445 w 80758"/>
                    <a:gd name="connsiteY7" fmla="*/ 31264 h 87062"/>
                    <a:gd name="connsiteX8" fmla="*/ 15678 w 80758"/>
                    <a:gd name="connsiteY8" fmla="*/ 14309 h 87062"/>
                    <a:gd name="connsiteX9" fmla="*/ 25965 w 80758"/>
                    <a:gd name="connsiteY9" fmla="*/ 56219 h 8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58" h="87062">
                      <a:moveTo>
                        <a:pt x="63684" y="22786"/>
                      </a:moveTo>
                      <a:cubicBezTo>
                        <a:pt x="83972" y="46980"/>
                        <a:pt x="86163" y="67935"/>
                        <a:pt x="70351" y="81079"/>
                      </a:cubicBezTo>
                      <a:cubicBezTo>
                        <a:pt x="56445" y="92700"/>
                        <a:pt x="36061" y="87556"/>
                        <a:pt x="16154" y="64220"/>
                      </a:cubicBezTo>
                      <a:cubicBezTo>
                        <a:pt x="-3848" y="40312"/>
                        <a:pt x="-4515" y="18595"/>
                        <a:pt x="9963" y="6403"/>
                      </a:cubicBezTo>
                      <a:cubicBezTo>
                        <a:pt x="25013" y="-6170"/>
                        <a:pt x="44729" y="22"/>
                        <a:pt x="63684" y="22786"/>
                      </a:cubicBezTo>
                      <a:close/>
                      <a:moveTo>
                        <a:pt x="25965" y="56219"/>
                      </a:moveTo>
                      <a:cubicBezTo>
                        <a:pt x="41491" y="74698"/>
                        <a:pt x="55969" y="80508"/>
                        <a:pt x="64732" y="73174"/>
                      </a:cubicBezTo>
                      <a:cubicBezTo>
                        <a:pt x="74638" y="64887"/>
                        <a:pt x="69685" y="49456"/>
                        <a:pt x="54445" y="31264"/>
                      </a:cubicBezTo>
                      <a:cubicBezTo>
                        <a:pt x="39776" y="13738"/>
                        <a:pt x="25679" y="6022"/>
                        <a:pt x="15678" y="14309"/>
                      </a:cubicBezTo>
                      <a:cubicBezTo>
                        <a:pt x="7201" y="21358"/>
                        <a:pt x="9772" y="36788"/>
                        <a:pt x="25965" y="562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38" name="Freeform: Shape 237">
                  <a:extLst>
                    <a:ext uri="{FF2B5EF4-FFF2-40B4-BE49-F238E27FC236}">
                      <a16:creationId xmlns:a16="http://schemas.microsoft.com/office/drawing/2014/main" id="{C3D406EF-45C7-FAE5-0410-25991B78655C}"/>
                    </a:ext>
                  </a:extLst>
                </p:cNvPr>
                <p:cNvSpPr/>
                <p:nvPr/>
              </p:nvSpPr>
              <p:spPr>
                <a:xfrm>
                  <a:off x="5250941" y="2169127"/>
                  <a:ext cx="72866" cy="82581"/>
                </a:xfrm>
                <a:custGeom>
                  <a:avLst/>
                  <a:gdLst>
                    <a:gd name="connsiteX0" fmla="*/ 15812 w 72866"/>
                    <a:gd name="connsiteY0" fmla="*/ 16574 h 82581"/>
                    <a:gd name="connsiteX1" fmla="*/ 15621 w 72866"/>
                    <a:gd name="connsiteY1" fmla="*/ 16764 h 82581"/>
                    <a:gd name="connsiteX2" fmla="*/ 7525 w 72866"/>
                    <a:gd name="connsiteY2" fmla="*/ 33242 h 82581"/>
                    <a:gd name="connsiteX3" fmla="*/ 0 w 72866"/>
                    <a:gd name="connsiteY3" fmla="*/ 26860 h 82581"/>
                    <a:gd name="connsiteX4" fmla="*/ 10192 w 72866"/>
                    <a:gd name="connsiteY4" fmla="*/ 6191 h 82581"/>
                    <a:gd name="connsiteX5" fmla="*/ 18955 w 72866"/>
                    <a:gd name="connsiteY5" fmla="*/ 0 h 82581"/>
                    <a:gd name="connsiteX6" fmla="*/ 72866 w 72866"/>
                    <a:gd name="connsiteY6" fmla="*/ 75533 h 82581"/>
                    <a:gd name="connsiteX7" fmla="*/ 62960 w 72866"/>
                    <a:gd name="connsiteY7" fmla="*/ 82582 h 82581"/>
                    <a:gd name="connsiteX8" fmla="*/ 15812 w 72866"/>
                    <a:gd name="connsiteY8" fmla="*/ 16574 h 82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66" h="82581">
                      <a:moveTo>
                        <a:pt x="15812" y="16574"/>
                      </a:moveTo>
                      <a:lnTo>
                        <a:pt x="15621" y="16764"/>
                      </a:lnTo>
                      <a:lnTo>
                        <a:pt x="7525" y="33242"/>
                      </a:lnTo>
                      <a:lnTo>
                        <a:pt x="0" y="26860"/>
                      </a:lnTo>
                      <a:lnTo>
                        <a:pt x="10192" y="6191"/>
                      </a:lnTo>
                      <a:lnTo>
                        <a:pt x="18955" y="0"/>
                      </a:lnTo>
                      <a:lnTo>
                        <a:pt x="72866" y="75533"/>
                      </a:lnTo>
                      <a:lnTo>
                        <a:pt x="62960" y="82582"/>
                      </a:lnTo>
                      <a:lnTo>
                        <a:pt x="15812" y="1657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39" name="Freeform: Shape 238">
                  <a:extLst>
                    <a:ext uri="{FF2B5EF4-FFF2-40B4-BE49-F238E27FC236}">
                      <a16:creationId xmlns:a16="http://schemas.microsoft.com/office/drawing/2014/main" id="{CBC35CD9-EEA9-E49C-F399-E6B74B924998}"/>
                    </a:ext>
                  </a:extLst>
                </p:cNvPr>
                <p:cNvSpPr/>
                <p:nvPr/>
              </p:nvSpPr>
              <p:spPr>
                <a:xfrm>
                  <a:off x="5347905" y="2109501"/>
                  <a:ext cx="68865" cy="85725"/>
                </a:xfrm>
                <a:custGeom>
                  <a:avLst/>
                  <a:gdLst>
                    <a:gd name="connsiteX0" fmla="*/ 16669 w 68865"/>
                    <a:gd name="connsiteY0" fmla="*/ 16288 h 85725"/>
                    <a:gd name="connsiteX1" fmla="*/ 16383 w 68865"/>
                    <a:gd name="connsiteY1" fmla="*/ 16478 h 85725"/>
                    <a:gd name="connsiteX2" fmla="*/ 7048 w 68865"/>
                    <a:gd name="connsiteY2" fmla="*/ 32290 h 85725"/>
                    <a:gd name="connsiteX3" fmla="*/ 0 w 68865"/>
                    <a:gd name="connsiteY3" fmla="*/ 25336 h 85725"/>
                    <a:gd name="connsiteX4" fmla="*/ 11716 w 68865"/>
                    <a:gd name="connsiteY4" fmla="*/ 5524 h 85725"/>
                    <a:gd name="connsiteX5" fmla="*/ 20860 w 68865"/>
                    <a:gd name="connsiteY5" fmla="*/ 0 h 85725"/>
                    <a:gd name="connsiteX6" fmla="*/ 68866 w 68865"/>
                    <a:gd name="connsiteY6" fmla="*/ 79439 h 85725"/>
                    <a:gd name="connsiteX7" fmla="*/ 58483 w 68865"/>
                    <a:gd name="connsiteY7" fmla="*/ 85725 h 85725"/>
                    <a:gd name="connsiteX8" fmla="*/ 16573 w 68865"/>
                    <a:gd name="connsiteY8" fmla="*/ 1628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865" h="85725">
                      <a:moveTo>
                        <a:pt x="16669" y="16288"/>
                      </a:moveTo>
                      <a:lnTo>
                        <a:pt x="16383" y="16478"/>
                      </a:lnTo>
                      <a:lnTo>
                        <a:pt x="7048" y="32290"/>
                      </a:lnTo>
                      <a:lnTo>
                        <a:pt x="0" y="25336"/>
                      </a:lnTo>
                      <a:lnTo>
                        <a:pt x="11716" y="5524"/>
                      </a:lnTo>
                      <a:lnTo>
                        <a:pt x="20860" y="0"/>
                      </a:lnTo>
                      <a:lnTo>
                        <a:pt x="68866" y="79439"/>
                      </a:lnTo>
                      <a:lnTo>
                        <a:pt x="58483" y="85725"/>
                      </a:lnTo>
                      <a:lnTo>
                        <a:pt x="16573" y="1628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40" name="Freeform: Shape 239">
                  <a:extLst>
                    <a:ext uri="{FF2B5EF4-FFF2-40B4-BE49-F238E27FC236}">
                      <a16:creationId xmlns:a16="http://schemas.microsoft.com/office/drawing/2014/main" id="{C09C7E95-44F1-BE55-D945-07BD5AC3F98C}"/>
                    </a:ext>
                  </a:extLst>
                </p:cNvPr>
                <p:cNvSpPr/>
                <p:nvPr/>
              </p:nvSpPr>
              <p:spPr>
                <a:xfrm>
                  <a:off x="5549200" y="2014892"/>
                  <a:ext cx="70794" cy="93485"/>
                </a:xfrm>
                <a:custGeom>
                  <a:avLst/>
                  <a:gdLst>
                    <a:gd name="connsiteX0" fmla="*/ 63977 w 70794"/>
                    <a:gd name="connsiteY0" fmla="*/ 33839 h 93485"/>
                    <a:gd name="connsiteX1" fmla="*/ 52928 w 70794"/>
                    <a:gd name="connsiteY1" fmla="*/ 91465 h 93485"/>
                    <a:gd name="connsiteX2" fmla="*/ 6255 w 70794"/>
                    <a:gd name="connsiteY2" fmla="*/ 59176 h 93485"/>
                    <a:gd name="connsiteX3" fmla="*/ 17590 w 70794"/>
                    <a:gd name="connsiteY3" fmla="*/ 2216 h 93485"/>
                    <a:gd name="connsiteX4" fmla="*/ 63977 w 70794"/>
                    <a:gd name="connsiteY4" fmla="*/ 33839 h 93485"/>
                    <a:gd name="connsiteX5" fmla="*/ 17971 w 70794"/>
                    <a:gd name="connsiteY5" fmla="*/ 54413 h 93485"/>
                    <a:gd name="connsiteX6" fmla="*/ 49880 w 70794"/>
                    <a:gd name="connsiteY6" fmla="*/ 82131 h 93485"/>
                    <a:gd name="connsiteX7" fmla="*/ 52642 w 70794"/>
                    <a:gd name="connsiteY7" fmla="*/ 39078 h 93485"/>
                    <a:gd name="connsiteX8" fmla="*/ 20733 w 70794"/>
                    <a:gd name="connsiteY8" fmla="*/ 11360 h 93485"/>
                    <a:gd name="connsiteX9" fmla="*/ 17971 w 70794"/>
                    <a:gd name="connsiteY9" fmla="*/ 54413 h 9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794" h="93485">
                      <a:moveTo>
                        <a:pt x="63977" y="33839"/>
                      </a:moveTo>
                      <a:cubicBezTo>
                        <a:pt x="76073" y="62986"/>
                        <a:pt x="71882" y="83560"/>
                        <a:pt x="52928" y="91465"/>
                      </a:cubicBezTo>
                      <a:cubicBezTo>
                        <a:pt x="36164" y="98419"/>
                        <a:pt x="18352" y="87370"/>
                        <a:pt x="6255" y="59176"/>
                      </a:cubicBezTo>
                      <a:cubicBezTo>
                        <a:pt x="-5651" y="30410"/>
                        <a:pt x="159" y="9455"/>
                        <a:pt x="17590" y="2216"/>
                      </a:cubicBezTo>
                      <a:cubicBezTo>
                        <a:pt x="35687" y="-5309"/>
                        <a:pt x="52642" y="6598"/>
                        <a:pt x="63977" y="33839"/>
                      </a:cubicBezTo>
                      <a:close/>
                      <a:moveTo>
                        <a:pt x="17971" y="54413"/>
                      </a:moveTo>
                      <a:cubicBezTo>
                        <a:pt x="27210" y="76702"/>
                        <a:pt x="39307" y="86512"/>
                        <a:pt x="49880" y="82131"/>
                      </a:cubicBezTo>
                      <a:cubicBezTo>
                        <a:pt x="61786" y="77178"/>
                        <a:pt x="61691" y="60985"/>
                        <a:pt x="52642" y="39078"/>
                      </a:cubicBezTo>
                      <a:cubicBezTo>
                        <a:pt x="43879" y="17932"/>
                        <a:pt x="32735" y="6312"/>
                        <a:pt x="20733" y="11360"/>
                      </a:cubicBezTo>
                      <a:cubicBezTo>
                        <a:pt x="10541" y="15551"/>
                        <a:pt x="8351" y="31077"/>
                        <a:pt x="17971" y="544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41" name="Freeform: Shape 240">
                  <a:extLst>
                    <a:ext uri="{FF2B5EF4-FFF2-40B4-BE49-F238E27FC236}">
                      <a16:creationId xmlns:a16="http://schemas.microsoft.com/office/drawing/2014/main" id="{A1FAF73D-B8BB-2797-4FFC-4EF5807695E9}"/>
                    </a:ext>
                  </a:extLst>
                </p:cNvPr>
                <p:cNvSpPr/>
                <p:nvPr/>
              </p:nvSpPr>
              <p:spPr>
                <a:xfrm>
                  <a:off x="5659278" y="1979580"/>
                  <a:ext cx="54864" cy="92011"/>
                </a:xfrm>
                <a:custGeom>
                  <a:avLst/>
                  <a:gdLst>
                    <a:gd name="connsiteX0" fmla="*/ 18193 w 54864"/>
                    <a:gd name="connsiteY0" fmla="*/ 14954 h 92011"/>
                    <a:gd name="connsiteX1" fmla="*/ 17907 w 54864"/>
                    <a:gd name="connsiteY1" fmla="*/ 14954 h 92011"/>
                    <a:gd name="connsiteX2" fmla="*/ 5239 w 54864"/>
                    <a:gd name="connsiteY2" fmla="*/ 28289 h 92011"/>
                    <a:gd name="connsiteX3" fmla="*/ 0 w 54864"/>
                    <a:gd name="connsiteY3" fmla="*/ 19907 h 92011"/>
                    <a:gd name="connsiteX4" fmla="*/ 15907 w 54864"/>
                    <a:gd name="connsiteY4" fmla="*/ 3334 h 92011"/>
                    <a:gd name="connsiteX5" fmla="*/ 26099 w 54864"/>
                    <a:gd name="connsiteY5" fmla="*/ 0 h 92011"/>
                    <a:gd name="connsiteX6" fmla="*/ 54864 w 54864"/>
                    <a:gd name="connsiteY6" fmla="*/ 88297 h 92011"/>
                    <a:gd name="connsiteX7" fmla="*/ 43339 w 54864"/>
                    <a:gd name="connsiteY7" fmla="*/ 92012 h 92011"/>
                    <a:gd name="connsiteX8" fmla="*/ 18288 w 54864"/>
                    <a:gd name="connsiteY8" fmla="*/ 14859 h 92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64" h="92011">
                      <a:moveTo>
                        <a:pt x="18193" y="14954"/>
                      </a:moveTo>
                      <a:lnTo>
                        <a:pt x="17907" y="14954"/>
                      </a:lnTo>
                      <a:cubicBezTo>
                        <a:pt x="17907" y="14954"/>
                        <a:pt x="5239" y="28289"/>
                        <a:pt x="5239" y="28289"/>
                      </a:cubicBezTo>
                      <a:lnTo>
                        <a:pt x="0" y="19907"/>
                      </a:lnTo>
                      <a:lnTo>
                        <a:pt x="15907" y="3334"/>
                      </a:lnTo>
                      <a:lnTo>
                        <a:pt x="26099" y="0"/>
                      </a:lnTo>
                      <a:lnTo>
                        <a:pt x="54864" y="88297"/>
                      </a:lnTo>
                      <a:lnTo>
                        <a:pt x="43339" y="92012"/>
                      </a:lnTo>
                      <a:lnTo>
                        <a:pt x="18288" y="1485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42" name="Freeform: Shape 241">
                  <a:extLst>
                    <a:ext uri="{FF2B5EF4-FFF2-40B4-BE49-F238E27FC236}">
                      <a16:creationId xmlns:a16="http://schemas.microsoft.com/office/drawing/2014/main" id="{7804800E-5457-ECA7-F7A7-970615825E92}"/>
                    </a:ext>
                  </a:extLst>
                </p:cNvPr>
                <p:cNvSpPr/>
                <p:nvPr/>
              </p:nvSpPr>
              <p:spPr>
                <a:xfrm>
                  <a:off x="5766647" y="1952166"/>
                  <a:ext cx="66253" cy="95242"/>
                </a:xfrm>
                <a:custGeom>
                  <a:avLst/>
                  <a:gdLst>
                    <a:gd name="connsiteX0" fmla="*/ 63414 w 66253"/>
                    <a:gd name="connsiteY0" fmla="*/ 39320 h 95242"/>
                    <a:gd name="connsiteX1" fmla="*/ 43602 w 66253"/>
                    <a:gd name="connsiteY1" fmla="*/ 94470 h 95242"/>
                    <a:gd name="connsiteX2" fmla="*/ 2549 w 66253"/>
                    <a:gd name="connsiteY2" fmla="*/ 55322 h 95242"/>
                    <a:gd name="connsiteX3" fmla="*/ 22552 w 66253"/>
                    <a:gd name="connsiteY3" fmla="*/ 839 h 95242"/>
                    <a:gd name="connsiteX4" fmla="*/ 63414 w 66253"/>
                    <a:gd name="connsiteY4" fmla="*/ 39320 h 95242"/>
                    <a:gd name="connsiteX5" fmla="*/ 14741 w 66253"/>
                    <a:gd name="connsiteY5" fmla="*/ 52560 h 95242"/>
                    <a:gd name="connsiteX6" fmla="*/ 41983 w 66253"/>
                    <a:gd name="connsiteY6" fmla="*/ 84945 h 95242"/>
                    <a:gd name="connsiteX7" fmla="*/ 51317 w 66253"/>
                    <a:gd name="connsiteY7" fmla="*/ 42845 h 95242"/>
                    <a:gd name="connsiteX8" fmla="*/ 24076 w 66253"/>
                    <a:gd name="connsiteY8" fmla="*/ 10459 h 95242"/>
                    <a:gd name="connsiteX9" fmla="*/ 14741 w 66253"/>
                    <a:gd name="connsiteY9" fmla="*/ 52560 h 95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53" h="95242">
                      <a:moveTo>
                        <a:pt x="63414" y="39320"/>
                      </a:moveTo>
                      <a:cubicBezTo>
                        <a:pt x="70843" y="69991"/>
                        <a:pt x="63509" y="89708"/>
                        <a:pt x="43602" y="94470"/>
                      </a:cubicBezTo>
                      <a:cubicBezTo>
                        <a:pt x="25981" y="98756"/>
                        <a:pt x="10074" y="85135"/>
                        <a:pt x="2549" y="55322"/>
                      </a:cubicBezTo>
                      <a:cubicBezTo>
                        <a:pt x="-4785" y="25033"/>
                        <a:pt x="4264" y="5221"/>
                        <a:pt x="22552" y="839"/>
                      </a:cubicBezTo>
                      <a:cubicBezTo>
                        <a:pt x="41602" y="-3733"/>
                        <a:pt x="56461" y="10555"/>
                        <a:pt x="63414" y="39320"/>
                      </a:cubicBezTo>
                      <a:close/>
                      <a:moveTo>
                        <a:pt x="14741" y="52560"/>
                      </a:moveTo>
                      <a:cubicBezTo>
                        <a:pt x="20456" y="75991"/>
                        <a:pt x="30838" y="87612"/>
                        <a:pt x="41983" y="84945"/>
                      </a:cubicBezTo>
                      <a:cubicBezTo>
                        <a:pt x="54460" y="81897"/>
                        <a:pt x="56937" y="65895"/>
                        <a:pt x="51317" y="42845"/>
                      </a:cubicBezTo>
                      <a:cubicBezTo>
                        <a:pt x="45983" y="20651"/>
                        <a:pt x="36744" y="7411"/>
                        <a:pt x="24076" y="10459"/>
                      </a:cubicBezTo>
                      <a:cubicBezTo>
                        <a:pt x="13408" y="13031"/>
                        <a:pt x="8740" y="27985"/>
                        <a:pt x="14741" y="5256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243" name="Freeform: Shape 242">
                  <a:extLst>
                    <a:ext uri="{FF2B5EF4-FFF2-40B4-BE49-F238E27FC236}">
                      <a16:creationId xmlns:a16="http://schemas.microsoft.com/office/drawing/2014/main" id="{3FF1F911-15C4-0188-2909-55BC3ED4BC6B}"/>
                    </a:ext>
                  </a:extLst>
                </p:cNvPr>
                <p:cNvSpPr/>
                <p:nvPr/>
              </p:nvSpPr>
              <p:spPr>
                <a:xfrm>
                  <a:off x="5883115" y="1934336"/>
                  <a:ext cx="43719" cy="93535"/>
                </a:xfrm>
                <a:custGeom>
                  <a:avLst/>
                  <a:gdLst>
                    <a:gd name="connsiteX0" fmla="*/ 18764 w 43719"/>
                    <a:gd name="connsiteY0" fmla="*/ 13430 h 93535"/>
                    <a:gd name="connsiteX1" fmla="*/ 18479 w 43719"/>
                    <a:gd name="connsiteY1" fmla="*/ 13430 h 93535"/>
                    <a:gd name="connsiteX2" fmla="*/ 3905 w 43719"/>
                    <a:gd name="connsiteY2" fmla="*/ 24670 h 93535"/>
                    <a:gd name="connsiteX3" fmla="*/ 0 w 43719"/>
                    <a:gd name="connsiteY3" fmla="*/ 15621 h 93535"/>
                    <a:gd name="connsiteX4" fmla="*/ 18288 w 43719"/>
                    <a:gd name="connsiteY4" fmla="*/ 1715 h 93535"/>
                    <a:gd name="connsiteX5" fmla="*/ 28861 w 43719"/>
                    <a:gd name="connsiteY5" fmla="*/ 0 h 93535"/>
                    <a:gd name="connsiteX6" fmla="*/ 43720 w 43719"/>
                    <a:gd name="connsiteY6" fmla="*/ 91631 h 93535"/>
                    <a:gd name="connsiteX7" fmla="*/ 31718 w 43719"/>
                    <a:gd name="connsiteY7" fmla="*/ 93536 h 93535"/>
                    <a:gd name="connsiteX8" fmla="*/ 18764 w 43719"/>
                    <a:gd name="connsiteY8" fmla="*/ 13430 h 93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19" h="93535">
                      <a:moveTo>
                        <a:pt x="18764" y="13430"/>
                      </a:moveTo>
                      <a:lnTo>
                        <a:pt x="18479" y="13430"/>
                      </a:lnTo>
                      <a:cubicBezTo>
                        <a:pt x="18479" y="13430"/>
                        <a:pt x="3905" y="24670"/>
                        <a:pt x="3905" y="24670"/>
                      </a:cubicBezTo>
                      <a:lnTo>
                        <a:pt x="0" y="15621"/>
                      </a:lnTo>
                      <a:lnTo>
                        <a:pt x="18288" y="1715"/>
                      </a:lnTo>
                      <a:lnTo>
                        <a:pt x="28861" y="0"/>
                      </a:lnTo>
                      <a:lnTo>
                        <a:pt x="43720" y="91631"/>
                      </a:lnTo>
                      <a:lnTo>
                        <a:pt x="31718" y="93536"/>
                      </a:lnTo>
                      <a:lnTo>
                        <a:pt x="18764" y="1343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nvGrpSpPr>
              <p:cNvPr id="37" name="Graphic 2">
                <a:extLst>
                  <a:ext uri="{FF2B5EF4-FFF2-40B4-BE49-F238E27FC236}">
                    <a16:creationId xmlns:a16="http://schemas.microsoft.com/office/drawing/2014/main" id="{EF884A6C-E689-0088-D60D-942658D85901}"/>
                  </a:ext>
                </a:extLst>
              </p:cNvPr>
              <p:cNvGrpSpPr/>
              <p:nvPr/>
            </p:nvGrpSpPr>
            <p:grpSpPr>
              <a:xfrm>
                <a:off x="4414919" y="1747831"/>
                <a:ext cx="3364460" cy="3365310"/>
                <a:chOff x="4414919" y="1747831"/>
                <a:chExt cx="3364460" cy="3365310"/>
              </a:xfrm>
              <a:solidFill>
                <a:srgbClr val="41728A"/>
              </a:solidFill>
            </p:grpSpPr>
            <p:sp>
              <p:nvSpPr>
                <p:cNvPr id="43" name="Freeform: Shape 42">
                  <a:extLst>
                    <a:ext uri="{FF2B5EF4-FFF2-40B4-BE49-F238E27FC236}">
                      <a16:creationId xmlns:a16="http://schemas.microsoft.com/office/drawing/2014/main" id="{7CF6DC08-FBA0-7A68-BDF6-E5DD9CE0667A}"/>
                    </a:ext>
                  </a:extLst>
                </p:cNvPr>
                <p:cNvSpPr/>
                <p:nvPr/>
              </p:nvSpPr>
              <p:spPr>
                <a:xfrm>
                  <a:off x="7652188" y="3140166"/>
                  <a:ext cx="106557" cy="72796"/>
                </a:xfrm>
                <a:custGeom>
                  <a:avLst/>
                  <a:gdLst>
                    <a:gd name="connsiteX0" fmla="*/ 61061 w 106557"/>
                    <a:gd name="connsiteY0" fmla="*/ 70615 h 72796"/>
                    <a:gd name="connsiteX1" fmla="*/ 577 w 106557"/>
                    <a:gd name="connsiteY1" fmla="*/ 45755 h 72796"/>
                    <a:gd name="connsiteX2" fmla="*/ 46202 w 106557"/>
                    <a:gd name="connsiteY2" fmla="*/ 1940 h 72796"/>
                    <a:gd name="connsiteX3" fmla="*/ 105923 w 106557"/>
                    <a:gd name="connsiteY3" fmla="*/ 26990 h 72796"/>
                    <a:gd name="connsiteX4" fmla="*/ 61061 w 106557"/>
                    <a:gd name="connsiteY4" fmla="*/ 70615 h 72796"/>
                    <a:gd name="connsiteX5" fmla="*/ 48773 w 106557"/>
                    <a:gd name="connsiteY5" fmla="*/ 15751 h 72796"/>
                    <a:gd name="connsiteX6" fmla="*/ 11340 w 106557"/>
                    <a:gd name="connsiteY6" fmla="*/ 44421 h 72796"/>
                    <a:gd name="connsiteX7" fmla="*/ 57822 w 106557"/>
                    <a:gd name="connsiteY7" fmla="*/ 56994 h 72796"/>
                    <a:gd name="connsiteX8" fmla="*/ 95255 w 106557"/>
                    <a:gd name="connsiteY8" fmla="*/ 28229 h 72796"/>
                    <a:gd name="connsiteX9" fmla="*/ 48773 w 106557"/>
                    <a:gd name="connsiteY9" fmla="*/ 15656 h 72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557" h="72796">
                      <a:moveTo>
                        <a:pt x="61061" y="70615"/>
                      </a:moveTo>
                      <a:cubicBezTo>
                        <a:pt x="26485" y="77378"/>
                        <a:pt x="4958" y="68234"/>
                        <a:pt x="577" y="45755"/>
                      </a:cubicBezTo>
                      <a:cubicBezTo>
                        <a:pt x="-3328" y="25943"/>
                        <a:pt x="12674" y="8798"/>
                        <a:pt x="46202" y="1940"/>
                      </a:cubicBezTo>
                      <a:cubicBezTo>
                        <a:pt x="80301" y="-4728"/>
                        <a:pt x="101923" y="6321"/>
                        <a:pt x="105923" y="26990"/>
                      </a:cubicBezTo>
                      <a:cubicBezTo>
                        <a:pt x="110114" y="48422"/>
                        <a:pt x="93350" y="64328"/>
                        <a:pt x="61061" y="70615"/>
                      </a:cubicBezTo>
                      <a:close/>
                      <a:moveTo>
                        <a:pt x="48773" y="15751"/>
                      </a:moveTo>
                      <a:cubicBezTo>
                        <a:pt x="22389" y="20894"/>
                        <a:pt x="8959" y="31943"/>
                        <a:pt x="11340" y="44421"/>
                      </a:cubicBezTo>
                      <a:cubicBezTo>
                        <a:pt x="14102" y="58518"/>
                        <a:pt x="31819" y="62042"/>
                        <a:pt x="57822" y="56994"/>
                      </a:cubicBezTo>
                      <a:cubicBezTo>
                        <a:pt x="82873" y="52136"/>
                        <a:pt x="98018" y="42516"/>
                        <a:pt x="95255" y="28229"/>
                      </a:cubicBezTo>
                      <a:cubicBezTo>
                        <a:pt x="92874" y="16227"/>
                        <a:pt x="76491" y="10322"/>
                        <a:pt x="48773" y="1565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44" name="Freeform: Shape 43">
                  <a:extLst>
                    <a:ext uri="{FF2B5EF4-FFF2-40B4-BE49-F238E27FC236}">
                      <a16:creationId xmlns:a16="http://schemas.microsoft.com/office/drawing/2014/main" id="{1F0BB1A7-1827-798A-14BA-D2FE3D3C888A}"/>
                    </a:ext>
                  </a:extLst>
                </p:cNvPr>
                <p:cNvSpPr/>
                <p:nvPr/>
              </p:nvSpPr>
              <p:spPr>
                <a:xfrm>
                  <a:off x="7666930" y="3265196"/>
                  <a:ext cx="107045" cy="71222"/>
                </a:xfrm>
                <a:custGeom>
                  <a:avLst/>
                  <a:gdLst>
                    <a:gd name="connsiteX0" fmla="*/ 58701 w 107045"/>
                    <a:gd name="connsiteY0" fmla="*/ 70363 h 71222"/>
                    <a:gd name="connsiteX1" fmla="*/ 217 w 107045"/>
                    <a:gd name="connsiteY1" fmla="*/ 40931 h 71222"/>
                    <a:gd name="connsiteX2" fmla="*/ 49080 w 107045"/>
                    <a:gd name="connsiteY2" fmla="*/ 735 h 71222"/>
                    <a:gd name="connsiteX3" fmla="*/ 106802 w 107045"/>
                    <a:gd name="connsiteY3" fmla="*/ 30263 h 71222"/>
                    <a:gd name="connsiteX4" fmla="*/ 58701 w 107045"/>
                    <a:gd name="connsiteY4" fmla="*/ 70363 h 71222"/>
                    <a:gd name="connsiteX5" fmla="*/ 50604 w 107045"/>
                    <a:gd name="connsiteY5" fmla="*/ 14642 h 71222"/>
                    <a:gd name="connsiteX6" fmla="*/ 11076 w 107045"/>
                    <a:gd name="connsiteY6" fmla="*/ 40455 h 71222"/>
                    <a:gd name="connsiteX7" fmla="*/ 56415 w 107045"/>
                    <a:gd name="connsiteY7" fmla="*/ 56457 h 71222"/>
                    <a:gd name="connsiteX8" fmla="*/ 95944 w 107045"/>
                    <a:gd name="connsiteY8" fmla="*/ 30644 h 71222"/>
                    <a:gd name="connsiteX9" fmla="*/ 50604 w 107045"/>
                    <a:gd name="connsiteY9" fmla="*/ 14642 h 7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045" h="71222">
                      <a:moveTo>
                        <a:pt x="58701" y="70363"/>
                      </a:moveTo>
                      <a:cubicBezTo>
                        <a:pt x="23744" y="74459"/>
                        <a:pt x="2884" y="63791"/>
                        <a:pt x="217" y="40931"/>
                      </a:cubicBezTo>
                      <a:cubicBezTo>
                        <a:pt x="-2164" y="20833"/>
                        <a:pt x="15076" y="5022"/>
                        <a:pt x="49080" y="735"/>
                      </a:cubicBezTo>
                      <a:cubicBezTo>
                        <a:pt x="83561" y="-3265"/>
                        <a:pt x="104326" y="9403"/>
                        <a:pt x="106802" y="30263"/>
                      </a:cubicBezTo>
                      <a:cubicBezTo>
                        <a:pt x="109374" y="51980"/>
                        <a:pt x="91467" y="66553"/>
                        <a:pt x="58701" y="70363"/>
                      </a:cubicBezTo>
                      <a:close/>
                      <a:moveTo>
                        <a:pt x="50604" y="14642"/>
                      </a:moveTo>
                      <a:cubicBezTo>
                        <a:pt x="23839" y="17785"/>
                        <a:pt x="9647" y="27786"/>
                        <a:pt x="11076" y="40455"/>
                      </a:cubicBezTo>
                      <a:cubicBezTo>
                        <a:pt x="12695" y="54742"/>
                        <a:pt x="30126" y="59600"/>
                        <a:pt x="56415" y="56457"/>
                      </a:cubicBezTo>
                      <a:cubicBezTo>
                        <a:pt x="81751" y="53504"/>
                        <a:pt x="97563" y="45027"/>
                        <a:pt x="95944" y="30644"/>
                      </a:cubicBezTo>
                      <a:cubicBezTo>
                        <a:pt x="94515" y="18452"/>
                        <a:pt x="78608" y="11308"/>
                        <a:pt x="50604" y="1464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45" name="Freeform: Shape 44">
                  <a:extLst>
                    <a:ext uri="{FF2B5EF4-FFF2-40B4-BE49-F238E27FC236}">
                      <a16:creationId xmlns:a16="http://schemas.microsoft.com/office/drawing/2014/main" id="{D0212FD4-65A1-FA90-7568-9F93A8C57292}"/>
                    </a:ext>
                  </a:extLst>
                </p:cNvPr>
                <p:cNvSpPr/>
                <p:nvPr/>
              </p:nvSpPr>
              <p:spPr>
                <a:xfrm>
                  <a:off x="7672268" y="3390622"/>
                  <a:ext cx="107111" cy="70302"/>
                </a:xfrm>
                <a:custGeom>
                  <a:avLst/>
                  <a:gdLst>
                    <a:gd name="connsiteX0" fmla="*/ 56030 w 107111"/>
                    <a:gd name="connsiteY0" fmla="*/ 70191 h 70302"/>
                    <a:gd name="connsiteX1" fmla="*/ 23 w 107111"/>
                    <a:gd name="connsiteY1" fmla="*/ 36377 h 70302"/>
                    <a:gd name="connsiteX2" fmla="*/ 51839 w 107111"/>
                    <a:gd name="connsiteY2" fmla="*/ 87 h 70302"/>
                    <a:gd name="connsiteX3" fmla="*/ 107084 w 107111"/>
                    <a:gd name="connsiteY3" fmla="*/ 33900 h 70302"/>
                    <a:gd name="connsiteX4" fmla="*/ 56030 w 107111"/>
                    <a:gd name="connsiteY4" fmla="*/ 70191 h 70302"/>
                    <a:gd name="connsiteX5" fmla="*/ 52220 w 107111"/>
                    <a:gd name="connsiteY5" fmla="*/ 14088 h 70302"/>
                    <a:gd name="connsiteX6" fmla="*/ 10881 w 107111"/>
                    <a:gd name="connsiteY6" fmla="*/ 36758 h 70302"/>
                    <a:gd name="connsiteX7" fmla="*/ 54887 w 107111"/>
                    <a:gd name="connsiteY7" fmla="*/ 56189 h 70302"/>
                    <a:gd name="connsiteX8" fmla="*/ 96225 w 107111"/>
                    <a:gd name="connsiteY8" fmla="*/ 33519 h 70302"/>
                    <a:gd name="connsiteX9" fmla="*/ 52220 w 107111"/>
                    <a:gd name="connsiteY9" fmla="*/ 13993 h 70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11" h="70302">
                      <a:moveTo>
                        <a:pt x="56030" y="70191"/>
                      </a:moveTo>
                      <a:cubicBezTo>
                        <a:pt x="20883" y="71619"/>
                        <a:pt x="880" y="59332"/>
                        <a:pt x="23" y="36377"/>
                      </a:cubicBezTo>
                      <a:cubicBezTo>
                        <a:pt x="-739" y="16184"/>
                        <a:pt x="17644" y="1706"/>
                        <a:pt x="51839" y="87"/>
                      </a:cubicBezTo>
                      <a:cubicBezTo>
                        <a:pt x="86510" y="-1247"/>
                        <a:pt x="106227" y="12945"/>
                        <a:pt x="107084" y="33900"/>
                      </a:cubicBezTo>
                      <a:cubicBezTo>
                        <a:pt x="107941" y="55713"/>
                        <a:pt x="88986" y="68857"/>
                        <a:pt x="56030" y="70191"/>
                      </a:cubicBezTo>
                      <a:close/>
                      <a:moveTo>
                        <a:pt x="52220" y="14088"/>
                      </a:moveTo>
                      <a:cubicBezTo>
                        <a:pt x="25359" y="15136"/>
                        <a:pt x="10405" y="23994"/>
                        <a:pt x="10881" y="36758"/>
                      </a:cubicBezTo>
                      <a:cubicBezTo>
                        <a:pt x="11453" y="51045"/>
                        <a:pt x="28407" y="57237"/>
                        <a:pt x="54887" y="56189"/>
                      </a:cubicBezTo>
                      <a:cubicBezTo>
                        <a:pt x="80319" y="55236"/>
                        <a:pt x="96797" y="47997"/>
                        <a:pt x="96225" y="33519"/>
                      </a:cubicBezTo>
                      <a:cubicBezTo>
                        <a:pt x="95749" y="21232"/>
                        <a:pt x="80414" y="12945"/>
                        <a:pt x="52220" y="1399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46" name="Freeform: Shape 45">
                  <a:extLst>
                    <a:ext uri="{FF2B5EF4-FFF2-40B4-BE49-F238E27FC236}">
                      <a16:creationId xmlns:a16="http://schemas.microsoft.com/office/drawing/2014/main" id="{0C54C335-CA6F-6FCF-B4CC-831866205CED}"/>
                    </a:ext>
                  </a:extLst>
                </p:cNvPr>
                <p:cNvSpPr/>
                <p:nvPr/>
              </p:nvSpPr>
              <p:spPr>
                <a:xfrm>
                  <a:off x="7669338" y="3527869"/>
                  <a:ext cx="104013" cy="34956"/>
                </a:xfrm>
                <a:custGeom>
                  <a:avLst/>
                  <a:gdLst>
                    <a:gd name="connsiteX0" fmla="*/ 91059 w 104013"/>
                    <a:gd name="connsiteY0" fmla="*/ 20955 h 34956"/>
                    <a:gd name="connsiteX1" fmla="*/ 91059 w 104013"/>
                    <a:gd name="connsiteY1" fmla="*/ 20669 h 34956"/>
                    <a:gd name="connsiteX2" fmla="*/ 82010 w 104013"/>
                    <a:gd name="connsiteY2" fmla="*/ 2286 h 34956"/>
                    <a:gd name="connsiteX3" fmla="*/ 92774 w 104013"/>
                    <a:gd name="connsiteY3" fmla="*/ 0 h 34956"/>
                    <a:gd name="connsiteX4" fmla="*/ 104013 w 104013"/>
                    <a:gd name="connsiteY4" fmla="*/ 23050 h 34956"/>
                    <a:gd name="connsiteX5" fmla="*/ 103537 w 104013"/>
                    <a:gd name="connsiteY5" fmla="*/ 34957 h 34956"/>
                    <a:gd name="connsiteX6" fmla="*/ 0 w 104013"/>
                    <a:gd name="connsiteY6" fmla="*/ 31051 h 34956"/>
                    <a:gd name="connsiteX7" fmla="*/ 476 w 104013"/>
                    <a:gd name="connsiteY7" fmla="*/ 17526 h 34956"/>
                    <a:gd name="connsiteX8" fmla="*/ 90964 w 104013"/>
                    <a:gd name="connsiteY8" fmla="*/ 20955 h 3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013" h="34956">
                      <a:moveTo>
                        <a:pt x="91059" y="20955"/>
                      </a:moveTo>
                      <a:lnTo>
                        <a:pt x="91059" y="20669"/>
                      </a:lnTo>
                      <a:cubicBezTo>
                        <a:pt x="91059" y="20669"/>
                        <a:pt x="82010" y="2286"/>
                        <a:pt x="82010" y="2286"/>
                      </a:cubicBezTo>
                      <a:lnTo>
                        <a:pt x="92774" y="0"/>
                      </a:lnTo>
                      <a:lnTo>
                        <a:pt x="104013" y="23050"/>
                      </a:lnTo>
                      <a:lnTo>
                        <a:pt x="103537" y="34957"/>
                      </a:lnTo>
                      <a:lnTo>
                        <a:pt x="0" y="31051"/>
                      </a:lnTo>
                      <a:lnTo>
                        <a:pt x="476" y="17526"/>
                      </a:lnTo>
                      <a:lnTo>
                        <a:pt x="90964" y="209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47" name="Freeform: Shape 46">
                  <a:extLst>
                    <a:ext uri="{FF2B5EF4-FFF2-40B4-BE49-F238E27FC236}">
                      <a16:creationId xmlns:a16="http://schemas.microsoft.com/office/drawing/2014/main" id="{A2A36F15-8B26-F040-7CFF-8B22B9995B95}"/>
                    </a:ext>
                  </a:extLst>
                </p:cNvPr>
                <p:cNvSpPr/>
                <p:nvPr/>
              </p:nvSpPr>
              <p:spPr>
                <a:xfrm>
                  <a:off x="7655146" y="3655313"/>
                  <a:ext cx="104203" cy="35814"/>
                </a:xfrm>
                <a:custGeom>
                  <a:avLst/>
                  <a:gdLst>
                    <a:gd name="connsiteX0" fmla="*/ 91345 w 104203"/>
                    <a:gd name="connsiteY0" fmla="*/ 20765 h 35814"/>
                    <a:gd name="connsiteX1" fmla="*/ 91345 w 104203"/>
                    <a:gd name="connsiteY1" fmla="*/ 20479 h 35814"/>
                    <a:gd name="connsiteX2" fmla="*/ 83820 w 104203"/>
                    <a:gd name="connsiteY2" fmla="*/ 1429 h 35814"/>
                    <a:gd name="connsiteX3" fmla="*/ 94774 w 104203"/>
                    <a:gd name="connsiteY3" fmla="*/ 0 h 35814"/>
                    <a:gd name="connsiteX4" fmla="*/ 104204 w 104203"/>
                    <a:gd name="connsiteY4" fmla="*/ 23908 h 35814"/>
                    <a:gd name="connsiteX5" fmla="*/ 102870 w 104203"/>
                    <a:gd name="connsiteY5" fmla="*/ 35814 h 35814"/>
                    <a:gd name="connsiteX6" fmla="*/ 0 w 104203"/>
                    <a:gd name="connsiteY6" fmla="*/ 23908 h 35814"/>
                    <a:gd name="connsiteX7" fmla="*/ 1524 w 104203"/>
                    <a:gd name="connsiteY7" fmla="*/ 10478 h 35814"/>
                    <a:gd name="connsiteX8" fmla="*/ 91440 w 104203"/>
                    <a:gd name="connsiteY8" fmla="*/ 20860 h 3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203" h="35814">
                      <a:moveTo>
                        <a:pt x="91345" y="20765"/>
                      </a:moveTo>
                      <a:lnTo>
                        <a:pt x="91345" y="20479"/>
                      </a:lnTo>
                      <a:cubicBezTo>
                        <a:pt x="91345" y="20479"/>
                        <a:pt x="83820" y="1429"/>
                        <a:pt x="83820" y="1429"/>
                      </a:cubicBezTo>
                      <a:lnTo>
                        <a:pt x="94774" y="0"/>
                      </a:lnTo>
                      <a:lnTo>
                        <a:pt x="104204" y="23908"/>
                      </a:lnTo>
                      <a:lnTo>
                        <a:pt x="102870" y="35814"/>
                      </a:lnTo>
                      <a:lnTo>
                        <a:pt x="0" y="23908"/>
                      </a:lnTo>
                      <a:lnTo>
                        <a:pt x="1524" y="10478"/>
                      </a:lnTo>
                      <a:lnTo>
                        <a:pt x="91440" y="208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48" name="Freeform: Shape 47">
                  <a:extLst>
                    <a:ext uri="{FF2B5EF4-FFF2-40B4-BE49-F238E27FC236}">
                      <a16:creationId xmlns:a16="http://schemas.microsoft.com/office/drawing/2014/main" id="{6BC64A08-5B3B-364E-C2F9-9ED7156C7B78}"/>
                    </a:ext>
                  </a:extLst>
                </p:cNvPr>
                <p:cNvSpPr/>
                <p:nvPr/>
              </p:nvSpPr>
              <p:spPr>
                <a:xfrm>
                  <a:off x="7631024" y="3761257"/>
                  <a:ext cx="106070" cy="73151"/>
                </a:xfrm>
                <a:custGeom>
                  <a:avLst/>
                  <a:gdLst>
                    <a:gd name="connsiteX0" fmla="*/ 47458 w 106070"/>
                    <a:gd name="connsiteY0" fmla="*/ 71126 h 73151"/>
                    <a:gd name="connsiteX1" fmla="*/ 691 w 106070"/>
                    <a:gd name="connsiteY1" fmla="*/ 25311 h 73151"/>
                    <a:gd name="connsiteX2" fmla="*/ 59460 w 106070"/>
                    <a:gd name="connsiteY2" fmla="*/ 1879 h 73151"/>
                    <a:gd name="connsiteX3" fmla="*/ 105466 w 106070"/>
                    <a:gd name="connsiteY3" fmla="*/ 47504 h 73151"/>
                    <a:gd name="connsiteX4" fmla="*/ 47458 w 106070"/>
                    <a:gd name="connsiteY4" fmla="*/ 71126 h 73151"/>
                    <a:gd name="connsiteX5" fmla="*/ 56602 w 106070"/>
                    <a:gd name="connsiteY5" fmla="*/ 15595 h 73151"/>
                    <a:gd name="connsiteX6" fmla="*/ 11168 w 106070"/>
                    <a:gd name="connsiteY6" fmla="*/ 28168 h 73151"/>
                    <a:gd name="connsiteX7" fmla="*/ 49459 w 106070"/>
                    <a:gd name="connsiteY7" fmla="*/ 57220 h 73151"/>
                    <a:gd name="connsiteX8" fmla="*/ 94893 w 106070"/>
                    <a:gd name="connsiteY8" fmla="*/ 44647 h 73151"/>
                    <a:gd name="connsiteX9" fmla="*/ 56507 w 106070"/>
                    <a:gd name="connsiteY9" fmla="*/ 15595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070" h="73151">
                      <a:moveTo>
                        <a:pt x="47458" y="71126"/>
                      </a:moveTo>
                      <a:cubicBezTo>
                        <a:pt x="12883" y="64363"/>
                        <a:pt x="-3691" y="47885"/>
                        <a:pt x="691" y="25311"/>
                      </a:cubicBezTo>
                      <a:cubicBezTo>
                        <a:pt x="4596" y="5499"/>
                        <a:pt x="25741" y="-4407"/>
                        <a:pt x="59460" y="1879"/>
                      </a:cubicBezTo>
                      <a:cubicBezTo>
                        <a:pt x="93559" y="8547"/>
                        <a:pt x="109466" y="26835"/>
                        <a:pt x="105466" y="47504"/>
                      </a:cubicBezTo>
                      <a:cubicBezTo>
                        <a:pt x="101275" y="68935"/>
                        <a:pt x="79843" y="77412"/>
                        <a:pt x="47458" y="71126"/>
                      </a:cubicBezTo>
                      <a:close/>
                      <a:moveTo>
                        <a:pt x="56602" y="15595"/>
                      </a:moveTo>
                      <a:cubicBezTo>
                        <a:pt x="30218" y="10452"/>
                        <a:pt x="13549" y="15595"/>
                        <a:pt x="11168" y="28168"/>
                      </a:cubicBezTo>
                      <a:cubicBezTo>
                        <a:pt x="8406" y="42265"/>
                        <a:pt x="23551" y="52171"/>
                        <a:pt x="49459" y="57220"/>
                      </a:cubicBezTo>
                      <a:cubicBezTo>
                        <a:pt x="74509" y="62077"/>
                        <a:pt x="92130" y="58839"/>
                        <a:pt x="94893" y="44647"/>
                      </a:cubicBezTo>
                      <a:cubicBezTo>
                        <a:pt x="97274" y="32645"/>
                        <a:pt x="84225" y="21024"/>
                        <a:pt x="56507" y="1559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49" name="Freeform: Shape 48">
                  <a:extLst>
                    <a:ext uri="{FF2B5EF4-FFF2-40B4-BE49-F238E27FC236}">
                      <a16:creationId xmlns:a16="http://schemas.microsoft.com/office/drawing/2014/main" id="{96AA1009-10EB-D8F2-AAA7-5E30F0D7C0EB}"/>
                    </a:ext>
                  </a:extLst>
                </p:cNvPr>
                <p:cNvSpPr/>
                <p:nvPr/>
              </p:nvSpPr>
              <p:spPr>
                <a:xfrm>
                  <a:off x="7558580" y="3993546"/>
                  <a:ext cx="104146" cy="77857"/>
                </a:xfrm>
                <a:custGeom>
                  <a:avLst/>
                  <a:gdLst>
                    <a:gd name="connsiteX0" fmla="*/ 41417 w 104146"/>
                    <a:gd name="connsiteY0" fmla="*/ 72104 h 77857"/>
                    <a:gd name="connsiteX1" fmla="*/ 2078 w 104146"/>
                    <a:gd name="connsiteY1" fmla="*/ 19812 h 77857"/>
                    <a:gd name="connsiteX2" fmla="*/ 63705 w 104146"/>
                    <a:gd name="connsiteY2" fmla="*/ 5525 h 77857"/>
                    <a:gd name="connsiteX3" fmla="*/ 102282 w 104146"/>
                    <a:gd name="connsiteY3" fmla="*/ 57531 h 77857"/>
                    <a:gd name="connsiteX4" fmla="*/ 41417 w 104146"/>
                    <a:gd name="connsiteY4" fmla="*/ 72104 h 77857"/>
                    <a:gd name="connsiteX5" fmla="*/ 58848 w 104146"/>
                    <a:gd name="connsiteY5" fmla="*/ 18574 h 77857"/>
                    <a:gd name="connsiteX6" fmla="*/ 11985 w 104146"/>
                    <a:gd name="connsiteY6" fmla="*/ 24098 h 77857"/>
                    <a:gd name="connsiteX7" fmla="*/ 45512 w 104146"/>
                    <a:gd name="connsiteY7" fmla="*/ 58579 h 77857"/>
                    <a:gd name="connsiteX8" fmla="*/ 92376 w 104146"/>
                    <a:gd name="connsiteY8" fmla="*/ 53054 h 77857"/>
                    <a:gd name="connsiteX9" fmla="*/ 58848 w 104146"/>
                    <a:gd name="connsiteY9" fmla="*/ 18574 h 7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146" h="77857">
                      <a:moveTo>
                        <a:pt x="41417" y="72104"/>
                      </a:moveTo>
                      <a:cubicBezTo>
                        <a:pt x="8270" y="60198"/>
                        <a:pt x="-5637" y="41338"/>
                        <a:pt x="2078" y="19812"/>
                      </a:cubicBezTo>
                      <a:cubicBezTo>
                        <a:pt x="8936" y="762"/>
                        <a:pt x="31416" y="-5715"/>
                        <a:pt x="63705" y="5525"/>
                      </a:cubicBezTo>
                      <a:cubicBezTo>
                        <a:pt x="96376" y="17240"/>
                        <a:pt x="109330" y="37814"/>
                        <a:pt x="102282" y="57531"/>
                      </a:cubicBezTo>
                      <a:cubicBezTo>
                        <a:pt x="94947" y="78105"/>
                        <a:pt x="72468" y="83248"/>
                        <a:pt x="41417" y="72104"/>
                      </a:cubicBezTo>
                      <a:close/>
                      <a:moveTo>
                        <a:pt x="58848" y="18574"/>
                      </a:moveTo>
                      <a:cubicBezTo>
                        <a:pt x="33511" y="9525"/>
                        <a:pt x="16271" y="12097"/>
                        <a:pt x="11985" y="24098"/>
                      </a:cubicBezTo>
                      <a:cubicBezTo>
                        <a:pt x="7127" y="37624"/>
                        <a:pt x="20557" y="49721"/>
                        <a:pt x="45512" y="58579"/>
                      </a:cubicBezTo>
                      <a:cubicBezTo>
                        <a:pt x="69516" y="67151"/>
                        <a:pt x="87423" y="66675"/>
                        <a:pt x="92376" y="53054"/>
                      </a:cubicBezTo>
                      <a:cubicBezTo>
                        <a:pt x="96567" y="41529"/>
                        <a:pt x="85422" y="28099"/>
                        <a:pt x="58848" y="1857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50" name="Freeform: Shape 49">
                  <a:extLst>
                    <a:ext uri="{FF2B5EF4-FFF2-40B4-BE49-F238E27FC236}">
                      <a16:creationId xmlns:a16="http://schemas.microsoft.com/office/drawing/2014/main" id="{B04EAB40-F810-BE4E-1E5A-479BA701D2EF}"/>
                    </a:ext>
                  </a:extLst>
                </p:cNvPr>
                <p:cNvSpPr/>
                <p:nvPr/>
              </p:nvSpPr>
              <p:spPr>
                <a:xfrm>
                  <a:off x="7452454" y="4211420"/>
                  <a:ext cx="101267" cy="83463"/>
                </a:xfrm>
                <a:custGeom>
                  <a:avLst/>
                  <a:gdLst>
                    <a:gd name="connsiteX0" fmla="*/ 35148 w 101267"/>
                    <a:gd name="connsiteY0" fmla="*/ 72924 h 83463"/>
                    <a:gd name="connsiteX1" fmla="*/ 4096 w 101267"/>
                    <a:gd name="connsiteY1" fmla="*/ 15298 h 83463"/>
                    <a:gd name="connsiteX2" fmla="*/ 67151 w 101267"/>
                    <a:gd name="connsiteY2" fmla="*/ 10345 h 83463"/>
                    <a:gd name="connsiteX3" fmla="*/ 97536 w 101267"/>
                    <a:gd name="connsiteY3" fmla="*/ 67590 h 83463"/>
                    <a:gd name="connsiteX4" fmla="*/ 35148 w 101267"/>
                    <a:gd name="connsiteY4" fmla="*/ 72924 h 83463"/>
                    <a:gd name="connsiteX5" fmla="*/ 60389 w 101267"/>
                    <a:gd name="connsiteY5" fmla="*/ 22632 h 83463"/>
                    <a:gd name="connsiteX6" fmla="*/ 13240 w 101267"/>
                    <a:gd name="connsiteY6" fmla="*/ 21108 h 83463"/>
                    <a:gd name="connsiteX7" fmla="*/ 41243 w 101267"/>
                    <a:gd name="connsiteY7" fmla="*/ 60256 h 83463"/>
                    <a:gd name="connsiteX8" fmla="*/ 88392 w 101267"/>
                    <a:gd name="connsiteY8" fmla="*/ 61780 h 83463"/>
                    <a:gd name="connsiteX9" fmla="*/ 60389 w 101267"/>
                    <a:gd name="connsiteY9" fmla="*/ 22632 h 8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267" h="83463">
                      <a:moveTo>
                        <a:pt x="35148" y="72924"/>
                      </a:moveTo>
                      <a:cubicBezTo>
                        <a:pt x="4096" y="56255"/>
                        <a:pt x="-6762" y="35491"/>
                        <a:pt x="4096" y="15298"/>
                      </a:cubicBezTo>
                      <a:cubicBezTo>
                        <a:pt x="13716" y="-2514"/>
                        <a:pt x="36862" y="-5562"/>
                        <a:pt x="67151" y="10345"/>
                      </a:cubicBezTo>
                      <a:cubicBezTo>
                        <a:pt x="97727" y="26823"/>
                        <a:pt x="107442" y="49017"/>
                        <a:pt x="97536" y="67590"/>
                      </a:cubicBezTo>
                      <a:cubicBezTo>
                        <a:pt x="87154" y="86831"/>
                        <a:pt x="64199" y="88545"/>
                        <a:pt x="35148" y="72924"/>
                      </a:cubicBezTo>
                      <a:close/>
                      <a:moveTo>
                        <a:pt x="60389" y="22632"/>
                      </a:moveTo>
                      <a:cubicBezTo>
                        <a:pt x="36672" y="9869"/>
                        <a:pt x="19241" y="9964"/>
                        <a:pt x="13240" y="21108"/>
                      </a:cubicBezTo>
                      <a:cubicBezTo>
                        <a:pt x="6477" y="33777"/>
                        <a:pt x="17907" y="47683"/>
                        <a:pt x="41243" y="60256"/>
                      </a:cubicBezTo>
                      <a:cubicBezTo>
                        <a:pt x="63723" y="72353"/>
                        <a:pt x="81534" y="74544"/>
                        <a:pt x="88392" y="61780"/>
                      </a:cubicBezTo>
                      <a:cubicBezTo>
                        <a:pt x="94202" y="51017"/>
                        <a:pt x="85249" y="36062"/>
                        <a:pt x="60389" y="226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51" name="Freeform: Shape 50">
                  <a:extLst>
                    <a:ext uri="{FF2B5EF4-FFF2-40B4-BE49-F238E27FC236}">
                      <a16:creationId xmlns:a16="http://schemas.microsoft.com/office/drawing/2014/main" id="{6669A819-6B08-5083-0A09-CB2F277CEDBB}"/>
                    </a:ext>
                  </a:extLst>
                </p:cNvPr>
                <p:cNvSpPr/>
                <p:nvPr/>
              </p:nvSpPr>
              <p:spPr>
                <a:xfrm>
                  <a:off x="7386827" y="4327969"/>
                  <a:ext cx="95726" cy="67341"/>
                </a:xfrm>
                <a:custGeom>
                  <a:avLst/>
                  <a:gdLst>
                    <a:gd name="connsiteX0" fmla="*/ 83534 w 95726"/>
                    <a:gd name="connsiteY0" fmla="*/ 48768 h 67341"/>
                    <a:gd name="connsiteX1" fmla="*/ 83725 w 95726"/>
                    <a:gd name="connsiteY1" fmla="*/ 48482 h 67341"/>
                    <a:gd name="connsiteX2" fmla="*/ 85249 w 95726"/>
                    <a:gd name="connsiteY2" fmla="*/ 28099 h 67341"/>
                    <a:gd name="connsiteX3" fmla="*/ 95726 w 95726"/>
                    <a:gd name="connsiteY3" fmla="*/ 31623 h 67341"/>
                    <a:gd name="connsiteX4" fmla="*/ 93726 w 95726"/>
                    <a:gd name="connsiteY4" fmla="*/ 57245 h 67341"/>
                    <a:gd name="connsiteX5" fmla="*/ 87249 w 95726"/>
                    <a:gd name="connsiteY5" fmla="*/ 67342 h 67341"/>
                    <a:gd name="connsiteX6" fmla="*/ 0 w 95726"/>
                    <a:gd name="connsiteY6" fmla="*/ 11430 h 67341"/>
                    <a:gd name="connsiteX7" fmla="*/ 7334 w 95726"/>
                    <a:gd name="connsiteY7" fmla="*/ 0 h 67341"/>
                    <a:gd name="connsiteX8" fmla="*/ 83534 w 95726"/>
                    <a:gd name="connsiteY8" fmla="*/ 48863 h 6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726" h="67341">
                      <a:moveTo>
                        <a:pt x="83534" y="48768"/>
                      </a:moveTo>
                      <a:lnTo>
                        <a:pt x="83725" y="48482"/>
                      </a:lnTo>
                      <a:lnTo>
                        <a:pt x="85249" y="28099"/>
                      </a:lnTo>
                      <a:lnTo>
                        <a:pt x="95726" y="31623"/>
                      </a:lnTo>
                      <a:lnTo>
                        <a:pt x="93726" y="57245"/>
                      </a:lnTo>
                      <a:lnTo>
                        <a:pt x="87249" y="67342"/>
                      </a:lnTo>
                      <a:lnTo>
                        <a:pt x="0" y="11430"/>
                      </a:lnTo>
                      <a:lnTo>
                        <a:pt x="7334" y="0"/>
                      </a:lnTo>
                      <a:lnTo>
                        <a:pt x="83534" y="488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52" name="Freeform: Shape 51">
                  <a:extLst>
                    <a:ext uri="{FF2B5EF4-FFF2-40B4-BE49-F238E27FC236}">
                      <a16:creationId xmlns:a16="http://schemas.microsoft.com/office/drawing/2014/main" id="{3E1162A2-4234-0B08-226F-F4A448B71BD5}"/>
                    </a:ext>
                  </a:extLst>
                </p:cNvPr>
                <p:cNvSpPr/>
                <p:nvPr/>
              </p:nvSpPr>
              <p:spPr>
                <a:xfrm>
                  <a:off x="7312164" y="4414245"/>
                  <a:ext cx="97497" cy="89229"/>
                </a:xfrm>
                <a:custGeom>
                  <a:avLst/>
                  <a:gdLst>
                    <a:gd name="connsiteX0" fmla="*/ 28657 w 97497"/>
                    <a:gd name="connsiteY0" fmla="*/ 73077 h 89229"/>
                    <a:gd name="connsiteX1" fmla="*/ 6750 w 97497"/>
                    <a:gd name="connsiteY1" fmla="*/ 11450 h 89229"/>
                    <a:gd name="connsiteX2" fmla="*/ 69901 w 97497"/>
                    <a:gd name="connsiteY2" fmla="*/ 16118 h 89229"/>
                    <a:gd name="connsiteX3" fmla="*/ 91237 w 97497"/>
                    <a:gd name="connsiteY3" fmla="*/ 77268 h 89229"/>
                    <a:gd name="connsiteX4" fmla="*/ 28753 w 97497"/>
                    <a:gd name="connsiteY4" fmla="*/ 73077 h 89229"/>
                    <a:gd name="connsiteX5" fmla="*/ 61233 w 97497"/>
                    <a:gd name="connsiteY5" fmla="*/ 27167 h 89229"/>
                    <a:gd name="connsiteX6" fmla="*/ 14846 w 97497"/>
                    <a:gd name="connsiteY6" fmla="*/ 18499 h 89229"/>
                    <a:gd name="connsiteX7" fmla="*/ 36563 w 97497"/>
                    <a:gd name="connsiteY7" fmla="*/ 61457 h 89229"/>
                    <a:gd name="connsiteX8" fmla="*/ 82950 w 97497"/>
                    <a:gd name="connsiteY8" fmla="*/ 70124 h 89229"/>
                    <a:gd name="connsiteX9" fmla="*/ 61233 w 97497"/>
                    <a:gd name="connsiteY9" fmla="*/ 27167 h 8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97" h="89229">
                      <a:moveTo>
                        <a:pt x="28657" y="73077"/>
                      </a:moveTo>
                      <a:cubicBezTo>
                        <a:pt x="559" y="51836"/>
                        <a:pt x="-7157" y="29738"/>
                        <a:pt x="6750" y="11450"/>
                      </a:cubicBezTo>
                      <a:cubicBezTo>
                        <a:pt x="18942" y="-4742"/>
                        <a:pt x="42278" y="-4266"/>
                        <a:pt x="69901" y="16118"/>
                      </a:cubicBezTo>
                      <a:cubicBezTo>
                        <a:pt x="97618" y="37072"/>
                        <a:pt x="103905" y="60504"/>
                        <a:pt x="91237" y="77268"/>
                      </a:cubicBezTo>
                      <a:cubicBezTo>
                        <a:pt x="78092" y="94699"/>
                        <a:pt x="55137" y="92889"/>
                        <a:pt x="28753" y="73077"/>
                      </a:cubicBezTo>
                      <a:close/>
                      <a:moveTo>
                        <a:pt x="61233" y="27167"/>
                      </a:moveTo>
                      <a:cubicBezTo>
                        <a:pt x="39707" y="10974"/>
                        <a:pt x="22561" y="8307"/>
                        <a:pt x="14846" y="18499"/>
                      </a:cubicBezTo>
                      <a:cubicBezTo>
                        <a:pt x="6178" y="29929"/>
                        <a:pt x="15418" y="45454"/>
                        <a:pt x="36563" y="61457"/>
                      </a:cubicBezTo>
                      <a:cubicBezTo>
                        <a:pt x="56947" y="76792"/>
                        <a:pt x="74187" y="81650"/>
                        <a:pt x="82950" y="70124"/>
                      </a:cubicBezTo>
                      <a:cubicBezTo>
                        <a:pt x="90284" y="60313"/>
                        <a:pt x="83712" y="44216"/>
                        <a:pt x="61233" y="2716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53" name="Freeform: Shape 52">
                  <a:extLst>
                    <a:ext uri="{FF2B5EF4-FFF2-40B4-BE49-F238E27FC236}">
                      <a16:creationId xmlns:a16="http://schemas.microsoft.com/office/drawing/2014/main" id="{106DE56F-57CE-F513-FE9F-209747096482}"/>
                    </a:ext>
                  </a:extLst>
                </p:cNvPr>
                <p:cNvSpPr/>
                <p:nvPr/>
              </p:nvSpPr>
              <p:spPr>
                <a:xfrm>
                  <a:off x="7232903" y="4515992"/>
                  <a:ext cx="91535" cy="78676"/>
                </a:xfrm>
                <a:custGeom>
                  <a:avLst/>
                  <a:gdLst>
                    <a:gd name="connsiteX0" fmla="*/ 76867 w 91535"/>
                    <a:gd name="connsiteY0" fmla="*/ 59912 h 78676"/>
                    <a:gd name="connsiteX1" fmla="*/ 77058 w 91535"/>
                    <a:gd name="connsiteY1" fmla="*/ 59627 h 78676"/>
                    <a:gd name="connsiteX2" fmla="*/ 81725 w 91535"/>
                    <a:gd name="connsiteY2" fmla="*/ 39719 h 78676"/>
                    <a:gd name="connsiteX3" fmla="*/ 91535 w 91535"/>
                    <a:gd name="connsiteY3" fmla="*/ 44768 h 78676"/>
                    <a:gd name="connsiteX4" fmla="*/ 85630 w 91535"/>
                    <a:gd name="connsiteY4" fmla="*/ 69723 h 78676"/>
                    <a:gd name="connsiteX5" fmla="*/ 77724 w 91535"/>
                    <a:gd name="connsiteY5" fmla="*/ 78677 h 78676"/>
                    <a:gd name="connsiteX6" fmla="*/ 0 w 91535"/>
                    <a:gd name="connsiteY6" fmla="*/ 10192 h 78676"/>
                    <a:gd name="connsiteX7" fmla="*/ 8954 w 91535"/>
                    <a:gd name="connsiteY7" fmla="*/ 0 h 78676"/>
                    <a:gd name="connsiteX8" fmla="*/ 76867 w 91535"/>
                    <a:gd name="connsiteY8" fmla="*/ 59912 h 7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535" h="78676">
                      <a:moveTo>
                        <a:pt x="76867" y="59912"/>
                      </a:moveTo>
                      <a:lnTo>
                        <a:pt x="77058" y="59627"/>
                      </a:lnTo>
                      <a:lnTo>
                        <a:pt x="81725" y="39719"/>
                      </a:lnTo>
                      <a:lnTo>
                        <a:pt x="91535" y="44768"/>
                      </a:lnTo>
                      <a:lnTo>
                        <a:pt x="85630" y="69723"/>
                      </a:lnTo>
                      <a:lnTo>
                        <a:pt x="77724" y="78677"/>
                      </a:lnTo>
                      <a:lnTo>
                        <a:pt x="0" y="10192"/>
                      </a:lnTo>
                      <a:lnTo>
                        <a:pt x="8954" y="0"/>
                      </a:lnTo>
                      <a:lnTo>
                        <a:pt x="76867" y="5991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54" name="Freeform: Shape 53">
                  <a:extLst>
                    <a:ext uri="{FF2B5EF4-FFF2-40B4-BE49-F238E27FC236}">
                      <a16:creationId xmlns:a16="http://schemas.microsoft.com/office/drawing/2014/main" id="{BF63A94F-A2D8-929B-4499-7FC464D99A15}"/>
                    </a:ext>
                  </a:extLst>
                </p:cNvPr>
                <p:cNvSpPr/>
                <p:nvPr/>
              </p:nvSpPr>
              <p:spPr>
                <a:xfrm>
                  <a:off x="7142777" y="4592945"/>
                  <a:ext cx="92521" cy="94701"/>
                </a:xfrm>
                <a:custGeom>
                  <a:avLst/>
                  <a:gdLst>
                    <a:gd name="connsiteX0" fmla="*/ 22117 w 92521"/>
                    <a:gd name="connsiteY0" fmla="*/ 72399 h 94701"/>
                    <a:gd name="connsiteX1" fmla="*/ 9830 w 92521"/>
                    <a:gd name="connsiteY1" fmla="*/ 8105 h 94701"/>
                    <a:gd name="connsiteX2" fmla="*/ 71457 w 92521"/>
                    <a:gd name="connsiteY2" fmla="*/ 22393 h 94701"/>
                    <a:gd name="connsiteX3" fmla="*/ 83172 w 92521"/>
                    <a:gd name="connsiteY3" fmla="*/ 86115 h 94701"/>
                    <a:gd name="connsiteX4" fmla="*/ 22117 w 92521"/>
                    <a:gd name="connsiteY4" fmla="*/ 72399 h 94701"/>
                    <a:gd name="connsiteX5" fmla="*/ 61360 w 92521"/>
                    <a:gd name="connsiteY5" fmla="*/ 32013 h 94701"/>
                    <a:gd name="connsiteX6" fmla="*/ 16878 w 92521"/>
                    <a:gd name="connsiteY6" fmla="*/ 16392 h 94701"/>
                    <a:gd name="connsiteX7" fmla="*/ 31737 w 92521"/>
                    <a:gd name="connsiteY7" fmla="*/ 62112 h 94701"/>
                    <a:gd name="connsiteX8" fmla="*/ 76219 w 92521"/>
                    <a:gd name="connsiteY8" fmla="*/ 77733 h 94701"/>
                    <a:gd name="connsiteX9" fmla="*/ 61360 w 92521"/>
                    <a:gd name="connsiteY9" fmla="*/ 32013 h 9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521" h="94701">
                      <a:moveTo>
                        <a:pt x="22117" y="72399"/>
                      </a:moveTo>
                      <a:cubicBezTo>
                        <a:pt x="-2457" y="47158"/>
                        <a:pt x="-6553" y="24107"/>
                        <a:pt x="9830" y="8105"/>
                      </a:cubicBezTo>
                      <a:cubicBezTo>
                        <a:pt x="24308" y="-5992"/>
                        <a:pt x="47358" y="-1991"/>
                        <a:pt x="71457" y="22393"/>
                      </a:cubicBezTo>
                      <a:cubicBezTo>
                        <a:pt x="95650" y="47253"/>
                        <a:pt x="98222" y="71447"/>
                        <a:pt x="83172" y="86115"/>
                      </a:cubicBezTo>
                      <a:cubicBezTo>
                        <a:pt x="67551" y="101355"/>
                        <a:pt x="45072" y="96021"/>
                        <a:pt x="22117" y="72399"/>
                      </a:cubicBezTo>
                      <a:close/>
                      <a:moveTo>
                        <a:pt x="61360" y="32013"/>
                      </a:moveTo>
                      <a:cubicBezTo>
                        <a:pt x="42596" y="12677"/>
                        <a:pt x="26022" y="7534"/>
                        <a:pt x="16878" y="16392"/>
                      </a:cubicBezTo>
                      <a:cubicBezTo>
                        <a:pt x="6591" y="26393"/>
                        <a:pt x="13354" y="43157"/>
                        <a:pt x="31737" y="62112"/>
                      </a:cubicBezTo>
                      <a:cubicBezTo>
                        <a:pt x="49454" y="80400"/>
                        <a:pt x="65837" y="87830"/>
                        <a:pt x="76219" y="77733"/>
                      </a:cubicBezTo>
                      <a:cubicBezTo>
                        <a:pt x="84982" y="69161"/>
                        <a:pt x="80982" y="52206"/>
                        <a:pt x="61360" y="320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55" name="Freeform: Shape 54">
                  <a:extLst>
                    <a:ext uri="{FF2B5EF4-FFF2-40B4-BE49-F238E27FC236}">
                      <a16:creationId xmlns:a16="http://schemas.microsoft.com/office/drawing/2014/main" id="{1D3F024A-B22D-633A-D018-C345DE550ABA}"/>
                    </a:ext>
                  </a:extLst>
                </p:cNvPr>
                <p:cNvSpPr/>
                <p:nvPr/>
              </p:nvSpPr>
              <p:spPr>
                <a:xfrm>
                  <a:off x="7048160" y="4672132"/>
                  <a:ext cx="89977" cy="97266"/>
                </a:xfrm>
                <a:custGeom>
                  <a:avLst/>
                  <a:gdLst>
                    <a:gd name="connsiteX0" fmla="*/ 18913 w 89977"/>
                    <a:gd name="connsiteY0" fmla="*/ 71698 h 97266"/>
                    <a:gd name="connsiteX1" fmla="*/ 11674 w 89977"/>
                    <a:gd name="connsiteY1" fmla="*/ 6642 h 97266"/>
                    <a:gd name="connsiteX2" fmla="*/ 72062 w 89977"/>
                    <a:gd name="connsiteY2" fmla="*/ 25692 h 97266"/>
                    <a:gd name="connsiteX3" fmla="*/ 78825 w 89977"/>
                    <a:gd name="connsiteY3" fmla="*/ 90176 h 97266"/>
                    <a:gd name="connsiteX4" fmla="*/ 18913 w 89977"/>
                    <a:gd name="connsiteY4" fmla="*/ 71793 h 97266"/>
                    <a:gd name="connsiteX5" fmla="*/ 61109 w 89977"/>
                    <a:gd name="connsiteY5" fmla="*/ 34455 h 97266"/>
                    <a:gd name="connsiteX6" fmla="*/ 17961 w 89977"/>
                    <a:gd name="connsiteY6" fmla="*/ 15500 h 97266"/>
                    <a:gd name="connsiteX7" fmla="*/ 29295 w 89977"/>
                    <a:gd name="connsiteY7" fmla="*/ 62268 h 97266"/>
                    <a:gd name="connsiteX8" fmla="*/ 72444 w 89977"/>
                    <a:gd name="connsiteY8" fmla="*/ 81318 h 97266"/>
                    <a:gd name="connsiteX9" fmla="*/ 61109 w 89977"/>
                    <a:gd name="connsiteY9" fmla="*/ 34550 h 9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977" h="97266">
                      <a:moveTo>
                        <a:pt x="18913" y="71698"/>
                      </a:moveTo>
                      <a:cubicBezTo>
                        <a:pt x="-3566" y="44647"/>
                        <a:pt x="-6043" y="21311"/>
                        <a:pt x="11674" y="6642"/>
                      </a:cubicBezTo>
                      <a:cubicBezTo>
                        <a:pt x="27200" y="-6312"/>
                        <a:pt x="49869" y="-502"/>
                        <a:pt x="72062" y="25692"/>
                      </a:cubicBezTo>
                      <a:cubicBezTo>
                        <a:pt x="94256" y="52362"/>
                        <a:pt x="95018" y="76651"/>
                        <a:pt x="78825" y="90176"/>
                      </a:cubicBezTo>
                      <a:cubicBezTo>
                        <a:pt x="62061" y="104178"/>
                        <a:pt x="40059" y="97129"/>
                        <a:pt x="18913" y="71793"/>
                      </a:cubicBezTo>
                      <a:close/>
                      <a:moveTo>
                        <a:pt x="61109" y="34455"/>
                      </a:moveTo>
                      <a:cubicBezTo>
                        <a:pt x="43869" y="13786"/>
                        <a:pt x="27771" y="7309"/>
                        <a:pt x="17961" y="15500"/>
                      </a:cubicBezTo>
                      <a:cubicBezTo>
                        <a:pt x="6911" y="24644"/>
                        <a:pt x="12341" y="41885"/>
                        <a:pt x="29295" y="62268"/>
                      </a:cubicBezTo>
                      <a:cubicBezTo>
                        <a:pt x="45583" y="81889"/>
                        <a:pt x="61299" y="90557"/>
                        <a:pt x="72444" y="81318"/>
                      </a:cubicBezTo>
                      <a:cubicBezTo>
                        <a:pt x="81873" y="73508"/>
                        <a:pt x="79111" y="56267"/>
                        <a:pt x="61109" y="3455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56" name="Freeform: Shape 55">
                  <a:extLst>
                    <a:ext uri="{FF2B5EF4-FFF2-40B4-BE49-F238E27FC236}">
                      <a16:creationId xmlns:a16="http://schemas.microsoft.com/office/drawing/2014/main" id="{B5A58912-9D39-5EE6-2295-568FEF29C123}"/>
                    </a:ext>
                  </a:extLst>
                </p:cNvPr>
                <p:cNvSpPr/>
                <p:nvPr/>
              </p:nvSpPr>
              <p:spPr>
                <a:xfrm>
                  <a:off x="6953439" y="4749259"/>
                  <a:ext cx="81057" cy="92202"/>
                </a:xfrm>
                <a:custGeom>
                  <a:avLst/>
                  <a:gdLst>
                    <a:gd name="connsiteX0" fmla="*/ 63341 w 81057"/>
                    <a:gd name="connsiteY0" fmla="*/ 73628 h 92202"/>
                    <a:gd name="connsiteX1" fmla="*/ 63627 w 81057"/>
                    <a:gd name="connsiteY1" fmla="*/ 73438 h 92202"/>
                    <a:gd name="connsiteX2" fmla="*/ 72676 w 81057"/>
                    <a:gd name="connsiteY2" fmla="*/ 55150 h 92202"/>
                    <a:gd name="connsiteX3" fmla="*/ 81058 w 81057"/>
                    <a:gd name="connsiteY3" fmla="*/ 62294 h 92202"/>
                    <a:gd name="connsiteX4" fmla="*/ 69628 w 81057"/>
                    <a:gd name="connsiteY4" fmla="*/ 85249 h 92202"/>
                    <a:gd name="connsiteX5" fmla="*/ 59912 w 81057"/>
                    <a:gd name="connsiteY5" fmla="*/ 92202 h 92202"/>
                    <a:gd name="connsiteX6" fmla="*/ 0 w 81057"/>
                    <a:gd name="connsiteY6" fmla="*/ 7811 h 92202"/>
                    <a:gd name="connsiteX7" fmla="*/ 11049 w 81057"/>
                    <a:gd name="connsiteY7" fmla="*/ 0 h 92202"/>
                    <a:gd name="connsiteX8" fmla="*/ 63437 w 81057"/>
                    <a:gd name="connsiteY8" fmla="*/ 73819 h 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057" h="92202">
                      <a:moveTo>
                        <a:pt x="63341" y="73628"/>
                      </a:moveTo>
                      <a:lnTo>
                        <a:pt x="63627" y="73438"/>
                      </a:lnTo>
                      <a:lnTo>
                        <a:pt x="72676" y="55150"/>
                      </a:lnTo>
                      <a:lnTo>
                        <a:pt x="81058" y="62294"/>
                      </a:lnTo>
                      <a:lnTo>
                        <a:pt x="69628" y="85249"/>
                      </a:lnTo>
                      <a:lnTo>
                        <a:pt x="59912" y="92202"/>
                      </a:lnTo>
                      <a:lnTo>
                        <a:pt x="0" y="7811"/>
                      </a:lnTo>
                      <a:lnTo>
                        <a:pt x="11049" y="0"/>
                      </a:lnTo>
                      <a:lnTo>
                        <a:pt x="63437" y="7381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57" name="Freeform: Shape 56">
                  <a:extLst>
                    <a:ext uri="{FF2B5EF4-FFF2-40B4-BE49-F238E27FC236}">
                      <a16:creationId xmlns:a16="http://schemas.microsoft.com/office/drawing/2014/main" id="{1AF72C81-F4A7-3CE5-31A0-62BD8263E2AF}"/>
                    </a:ext>
                  </a:extLst>
                </p:cNvPr>
                <p:cNvSpPr/>
                <p:nvPr/>
              </p:nvSpPr>
              <p:spPr>
                <a:xfrm>
                  <a:off x="6842338" y="4807438"/>
                  <a:ext cx="84280" cy="101259"/>
                </a:xfrm>
                <a:custGeom>
                  <a:avLst/>
                  <a:gdLst>
                    <a:gd name="connsiteX0" fmla="*/ 12803 w 84280"/>
                    <a:gd name="connsiteY0" fmla="*/ 69456 h 101259"/>
                    <a:gd name="connsiteX1" fmla="*/ 15565 w 84280"/>
                    <a:gd name="connsiteY1" fmla="*/ 4115 h 101259"/>
                    <a:gd name="connsiteX2" fmla="*/ 72335 w 84280"/>
                    <a:gd name="connsiteY2" fmla="*/ 32118 h 101259"/>
                    <a:gd name="connsiteX3" fmla="*/ 69096 w 84280"/>
                    <a:gd name="connsiteY3" fmla="*/ 96793 h 101259"/>
                    <a:gd name="connsiteX4" fmla="*/ 12803 w 84280"/>
                    <a:gd name="connsiteY4" fmla="*/ 69456 h 101259"/>
                    <a:gd name="connsiteX5" fmla="*/ 60238 w 84280"/>
                    <a:gd name="connsiteY5" fmla="*/ 39167 h 101259"/>
                    <a:gd name="connsiteX6" fmla="*/ 20519 w 84280"/>
                    <a:gd name="connsiteY6" fmla="*/ 13735 h 101259"/>
                    <a:gd name="connsiteX7" fmla="*/ 24519 w 84280"/>
                    <a:gd name="connsiteY7" fmla="*/ 61646 h 101259"/>
                    <a:gd name="connsiteX8" fmla="*/ 64238 w 84280"/>
                    <a:gd name="connsiteY8" fmla="*/ 87078 h 101259"/>
                    <a:gd name="connsiteX9" fmla="*/ 60238 w 84280"/>
                    <a:gd name="connsiteY9" fmla="*/ 39167 h 10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80" h="101259">
                      <a:moveTo>
                        <a:pt x="12803" y="69456"/>
                      </a:moveTo>
                      <a:cubicBezTo>
                        <a:pt x="-5294" y="39262"/>
                        <a:pt x="-4056" y="15831"/>
                        <a:pt x="15565" y="4115"/>
                      </a:cubicBezTo>
                      <a:cubicBezTo>
                        <a:pt x="32901" y="-6267"/>
                        <a:pt x="54428" y="2972"/>
                        <a:pt x="72335" y="32118"/>
                      </a:cubicBezTo>
                      <a:cubicBezTo>
                        <a:pt x="90146" y="61932"/>
                        <a:pt x="87194" y="86030"/>
                        <a:pt x="69096" y="96793"/>
                      </a:cubicBezTo>
                      <a:cubicBezTo>
                        <a:pt x="50427" y="108033"/>
                        <a:pt x="29758" y="97746"/>
                        <a:pt x="12803" y="69456"/>
                      </a:cubicBezTo>
                      <a:close/>
                      <a:moveTo>
                        <a:pt x="60238" y="39167"/>
                      </a:moveTo>
                      <a:cubicBezTo>
                        <a:pt x="46427" y="16116"/>
                        <a:pt x="31472" y="7258"/>
                        <a:pt x="20519" y="13735"/>
                      </a:cubicBezTo>
                      <a:cubicBezTo>
                        <a:pt x="8231" y="21069"/>
                        <a:pt x="10898" y="38976"/>
                        <a:pt x="24519" y="61646"/>
                      </a:cubicBezTo>
                      <a:cubicBezTo>
                        <a:pt x="37663" y="83458"/>
                        <a:pt x="51856" y="94507"/>
                        <a:pt x="64238" y="87078"/>
                      </a:cubicBezTo>
                      <a:cubicBezTo>
                        <a:pt x="74716" y="80791"/>
                        <a:pt x="74716" y="63360"/>
                        <a:pt x="60238" y="3916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58" name="Freeform: Shape 57">
                  <a:extLst>
                    <a:ext uri="{FF2B5EF4-FFF2-40B4-BE49-F238E27FC236}">
                      <a16:creationId xmlns:a16="http://schemas.microsoft.com/office/drawing/2014/main" id="{5707D000-7EDE-7A2E-C0AB-D155AED65CD9}"/>
                    </a:ext>
                  </a:extLst>
                </p:cNvPr>
                <p:cNvSpPr/>
                <p:nvPr/>
              </p:nvSpPr>
              <p:spPr>
                <a:xfrm>
                  <a:off x="6621661" y="4908049"/>
                  <a:ext cx="78760" cy="104324"/>
                </a:xfrm>
                <a:custGeom>
                  <a:avLst/>
                  <a:gdLst>
                    <a:gd name="connsiteX0" fmla="*/ 7452 w 78760"/>
                    <a:gd name="connsiteY0" fmla="*/ 66382 h 104324"/>
                    <a:gd name="connsiteX1" fmla="*/ 20121 w 78760"/>
                    <a:gd name="connsiteY1" fmla="*/ 2183 h 104324"/>
                    <a:gd name="connsiteX2" fmla="*/ 71937 w 78760"/>
                    <a:gd name="connsiteY2" fmla="*/ 38473 h 104324"/>
                    <a:gd name="connsiteX3" fmla="*/ 58983 w 78760"/>
                    <a:gd name="connsiteY3" fmla="*/ 101910 h 104324"/>
                    <a:gd name="connsiteX4" fmla="*/ 7452 w 78760"/>
                    <a:gd name="connsiteY4" fmla="*/ 66382 h 104324"/>
                    <a:gd name="connsiteX5" fmla="*/ 58887 w 78760"/>
                    <a:gd name="connsiteY5" fmla="*/ 43617 h 104324"/>
                    <a:gd name="connsiteX6" fmla="*/ 23454 w 78760"/>
                    <a:gd name="connsiteY6" fmla="*/ 12470 h 104324"/>
                    <a:gd name="connsiteX7" fmla="*/ 20216 w 78760"/>
                    <a:gd name="connsiteY7" fmla="*/ 60476 h 104324"/>
                    <a:gd name="connsiteX8" fmla="*/ 55649 w 78760"/>
                    <a:gd name="connsiteY8" fmla="*/ 91623 h 104324"/>
                    <a:gd name="connsiteX9" fmla="*/ 58983 w 78760"/>
                    <a:gd name="connsiteY9" fmla="*/ 43617 h 10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760" h="104324">
                      <a:moveTo>
                        <a:pt x="7452" y="66382"/>
                      </a:moveTo>
                      <a:cubicBezTo>
                        <a:pt x="-5883" y="33806"/>
                        <a:pt x="-1120" y="10851"/>
                        <a:pt x="20121" y="2183"/>
                      </a:cubicBezTo>
                      <a:cubicBezTo>
                        <a:pt x="38885" y="-5437"/>
                        <a:pt x="58697" y="6946"/>
                        <a:pt x="71937" y="38473"/>
                      </a:cubicBezTo>
                      <a:cubicBezTo>
                        <a:pt x="85081" y="70573"/>
                        <a:pt x="78414" y="94004"/>
                        <a:pt x="58983" y="101910"/>
                      </a:cubicBezTo>
                      <a:cubicBezTo>
                        <a:pt x="38790" y="110197"/>
                        <a:pt x="19930" y="96862"/>
                        <a:pt x="7452" y="66382"/>
                      </a:cubicBezTo>
                      <a:close/>
                      <a:moveTo>
                        <a:pt x="58887" y="43617"/>
                      </a:moveTo>
                      <a:cubicBezTo>
                        <a:pt x="48696" y="18661"/>
                        <a:pt x="35265" y="7708"/>
                        <a:pt x="23454" y="12470"/>
                      </a:cubicBezTo>
                      <a:cubicBezTo>
                        <a:pt x="10215" y="17899"/>
                        <a:pt x="10119" y="35997"/>
                        <a:pt x="20216" y="60476"/>
                      </a:cubicBezTo>
                      <a:cubicBezTo>
                        <a:pt x="29836" y="84098"/>
                        <a:pt x="42219" y="97052"/>
                        <a:pt x="55649" y="91623"/>
                      </a:cubicBezTo>
                      <a:cubicBezTo>
                        <a:pt x="66984" y="86956"/>
                        <a:pt x="69555" y="69810"/>
                        <a:pt x="58983" y="4361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59" name="Freeform: Shape 58">
                  <a:extLst>
                    <a:ext uri="{FF2B5EF4-FFF2-40B4-BE49-F238E27FC236}">
                      <a16:creationId xmlns:a16="http://schemas.microsoft.com/office/drawing/2014/main" id="{36ED7A87-3813-4F71-5BEF-EF7A8D0F3BD6}"/>
                    </a:ext>
                  </a:extLst>
                </p:cNvPr>
                <p:cNvSpPr/>
                <p:nvPr/>
              </p:nvSpPr>
              <p:spPr>
                <a:xfrm>
                  <a:off x="6516813" y="4948427"/>
                  <a:ext cx="60864" cy="102774"/>
                </a:xfrm>
                <a:custGeom>
                  <a:avLst/>
                  <a:gdLst>
                    <a:gd name="connsiteX0" fmla="*/ 40481 w 60864"/>
                    <a:gd name="connsiteY0" fmla="*/ 86201 h 102774"/>
                    <a:gd name="connsiteX1" fmla="*/ 40767 w 60864"/>
                    <a:gd name="connsiteY1" fmla="*/ 86201 h 102774"/>
                    <a:gd name="connsiteX2" fmla="*/ 54959 w 60864"/>
                    <a:gd name="connsiteY2" fmla="*/ 71342 h 102774"/>
                    <a:gd name="connsiteX3" fmla="*/ 60865 w 60864"/>
                    <a:gd name="connsiteY3" fmla="*/ 80677 h 102774"/>
                    <a:gd name="connsiteX4" fmla="*/ 43053 w 60864"/>
                    <a:gd name="connsiteY4" fmla="*/ 99155 h 102774"/>
                    <a:gd name="connsiteX5" fmla="*/ 31718 w 60864"/>
                    <a:gd name="connsiteY5" fmla="*/ 102775 h 102774"/>
                    <a:gd name="connsiteX6" fmla="*/ 0 w 60864"/>
                    <a:gd name="connsiteY6" fmla="*/ 4191 h 102774"/>
                    <a:gd name="connsiteX7" fmla="*/ 12859 w 60864"/>
                    <a:gd name="connsiteY7" fmla="*/ 0 h 102774"/>
                    <a:gd name="connsiteX8" fmla="*/ 40577 w 60864"/>
                    <a:gd name="connsiteY8" fmla="*/ 86106 h 10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64" h="102774">
                      <a:moveTo>
                        <a:pt x="40481" y="86201"/>
                      </a:moveTo>
                      <a:lnTo>
                        <a:pt x="40767" y="86201"/>
                      </a:lnTo>
                      <a:cubicBezTo>
                        <a:pt x="40767" y="86201"/>
                        <a:pt x="54959" y="71342"/>
                        <a:pt x="54959" y="71342"/>
                      </a:cubicBezTo>
                      <a:lnTo>
                        <a:pt x="60865" y="80677"/>
                      </a:lnTo>
                      <a:lnTo>
                        <a:pt x="43053" y="99155"/>
                      </a:lnTo>
                      <a:lnTo>
                        <a:pt x="31718" y="102775"/>
                      </a:lnTo>
                      <a:lnTo>
                        <a:pt x="0" y="4191"/>
                      </a:lnTo>
                      <a:lnTo>
                        <a:pt x="12859" y="0"/>
                      </a:lnTo>
                      <a:lnTo>
                        <a:pt x="40577" y="8610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60" name="Freeform: Shape 59">
                  <a:extLst>
                    <a:ext uri="{FF2B5EF4-FFF2-40B4-BE49-F238E27FC236}">
                      <a16:creationId xmlns:a16="http://schemas.microsoft.com/office/drawing/2014/main" id="{475B82B7-3EF4-F153-4E04-F5CCCE8333A0}"/>
                    </a:ext>
                  </a:extLst>
                </p:cNvPr>
                <p:cNvSpPr/>
                <p:nvPr/>
              </p:nvSpPr>
              <p:spPr>
                <a:xfrm>
                  <a:off x="6384076" y="4975263"/>
                  <a:ext cx="73723" cy="106414"/>
                </a:xfrm>
                <a:custGeom>
                  <a:avLst/>
                  <a:gdLst>
                    <a:gd name="connsiteX0" fmla="*/ 2912 w 73723"/>
                    <a:gd name="connsiteY0" fmla="*/ 62128 h 106414"/>
                    <a:gd name="connsiteX1" fmla="*/ 25771 w 73723"/>
                    <a:gd name="connsiteY1" fmla="*/ 787 h 106414"/>
                    <a:gd name="connsiteX2" fmla="*/ 71111 w 73723"/>
                    <a:gd name="connsiteY2" fmla="*/ 44983 h 106414"/>
                    <a:gd name="connsiteX3" fmla="*/ 48060 w 73723"/>
                    <a:gd name="connsiteY3" fmla="*/ 105562 h 106414"/>
                    <a:gd name="connsiteX4" fmla="*/ 2912 w 73723"/>
                    <a:gd name="connsiteY4" fmla="*/ 62128 h 106414"/>
                    <a:gd name="connsiteX5" fmla="*/ 57395 w 73723"/>
                    <a:gd name="connsiteY5" fmla="*/ 47936 h 106414"/>
                    <a:gd name="connsiteX6" fmla="*/ 27391 w 73723"/>
                    <a:gd name="connsiteY6" fmla="*/ 11550 h 106414"/>
                    <a:gd name="connsiteX7" fmla="*/ 16437 w 73723"/>
                    <a:gd name="connsiteY7" fmla="*/ 58413 h 106414"/>
                    <a:gd name="connsiteX8" fmla="*/ 46441 w 73723"/>
                    <a:gd name="connsiteY8" fmla="*/ 94799 h 106414"/>
                    <a:gd name="connsiteX9" fmla="*/ 57395 w 73723"/>
                    <a:gd name="connsiteY9" fmla="*/ 47936 h 10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723" h="106414">
                      <a:moveTo>
                        <a:pt x="2912" y="62128"/>
                      </a:moveTo>
                      <a:cubicBezTo>
                        <a:pt x="-4994" y="27838"/>
                        <a:pt x="3388" y="5930"/>
                        <a:pt x="25771" y="787"/>
                      </a:cubicBezTo>
                      <a:cubicBezTo>
                        <a:pt x="45488" y="-3785"/>
                        <a:pt x="63109" y="11645"/>
                        <a:pt x="71111" y="44983"/>
                      </a:cubicBezTo>
                      <a:cubicBezTo>
                        <a:pt x="78921" y="78796"/>
                        <a:pt x="68634" y="100799"/>
                        <a:pt x="48060" y="105562"/>
                      </a:cubicBezTo>
                      <a:cubicBezTo>
                        <a:pt x="26819" y="110420"/>
                        <a:pt x="10341" y="94322"/>
                        <a:pt x="2912" y="62128"/>
                      </a:cubicBezTo>
                      <a:close/>
                      <a:moveTo>
                        <a:pt x="57395" y="47936"/>
                      </a:moveTo>
                      <a:cubicBezTo>
                        <a:pt x="51394" y="21742"/>
                        <a:pt x="39868" y="8693"/>
                        <a:pt x="27391" y="11550"/>
                      </a:cubicBezTo>
                      <a:cubicBezTo>
                        <a:pt x="13389" y="14789"/>
                        <a:pt x="10532" y="32600"/>
                        <a:pt x="16437" y="58413"/>
                      </a:cubicBezTo>
                      <a:cubicBezTo>
                        <a:pt x="22152" y="83273"/>
                        <a:pt x="32249" y="98132"/>
                        <a:pt x="46441" y="94799"/>
                      </a:cubicBezTo>
                      <a:cubicBezTo>
                        <a:pt x="58347" y="92036"/>
                        <a:pt x="63681" y="75463"/>
                        <a:pt x="57395" y="479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71" name="Freeform: Shape 70">
                  <a:extLst>
                    <a:ext uri="{FF2B5EF4-FFF2-40B4-BE49-F238E27FC236}">
                      <a16:creationId xmlns:a16="http://schemas.microsoft.com/office/drawing/2014/main" id="{8EFDBA53-3C30-83C4-EFED-1746D5F95E32}"/>
                    </a:ext>
                  </a:extLst>
                </p:cNvPr>
                <p:cNvSpPr/>
                <p:nvPr/>
              </p:nvSpPr>
              <p:spPr>
                <a:xfrm>
                  <a:off x="6279070" y="4997004"/>
                  <a:ext cx="48767" cy="104393"/>
                </a:xfrm>
                <a:custGeom>
                  <a:avLst/>
                  <a:gdLst>
                    <a:gd name="connsiteX0" fmla="*/ 27908 w 48767"/>
                    <a:gd name="connsiteY0" fmla="*/ 89345 h 104393"/>
                    <a:gd name="connsiteX1" fmla="*/ 28194 w 48767"/>
                    <a:gd name="connsiteY1" fmla="*/ 89345 h 104393"/>
                    <a:gd name="connsiteX2" fmla="*/ 44387 w 48767"/>
                    <a:gd name="connsiteY2" fmla="*/ 76867 h 104393"/>
                    <a:gd name="connsiteX3" fmla="*/ 48768 w 48767"/>
                    <a:gd name="connsiteY3" fmla="*/ 86963 h 104393"/>
                    <a:gd name="connsiteX4" fmla="*/ 28384 w 48767"/>
                    <a:gd name="connsiteY4" fmla="*/ 102489 h 104393"/>
                    <a:gd name="connsiteX5" fmla="*/ 16574 w 48767"/>
                    <a:gd name="connsiteY5" fmla="*/ 104394 h 104393"/>
                    <a:gd name="connsiteX6" fmla="*/ 0 w 48767"/>
                    <a:gd name="connsiteY6" fmla="*/ 2191 h 104393"/>
                    <a:gd name="connsiteX7" fmla="*/ 13335 w 48767"/>
                    <a:gd name="connsiteY7" fmla="*/ 0 h 104393"/>
                    <a:gd name="connsiteX8" fmla="*/ 27813 w 48767"/>
                    <a:gd name="connsiteY8" fmla="*/ 89345 h 10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7" h="104393">
                      <a:moveTo>
                        <a:pt x="27908" y="89345"/>
                      </a:moveTo>
                      <a:lnTo>
                        <a:pt x="28194" y="89345"/>
                      </a:lnTo>
                      <a:cubicBezTo>
                        <a:pt x="28194" y="89345"/>
                        <a:pt x="44387" y="76867"/>
                        <a:pt x="44387" y="76867"/>
                      </a:cubicBezTo>
                      <a:lnTo>
                        <a:pt x="48768" y="86963"/>
                      </a:lnTo>
                      <a:lnTo>
                        <a:pt x="28384" y="102489"/>
                      </a:lnTo>
                      <a:lnTo>
                        <a:pt x="16574" y="104394"/>
                      </a:lnTo>
                      <a:lnTo>
                        <a:pt x="0" y="2191"/>
                      </a:lnTo>
                      <a:lnTo>
                        <a:pt x="13335" y="0"/>
                      </a:lnTo>
                      <a:lnTo>
                        <a:pt x="27813" y="8934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72" name="Freeform: Shape 71">
                  <a:extLst>
                    <a:ext uri="{FF2B5EF4-FFF2-40B4-BE49-F238E27FC236}">
                      <a16:creationId xmlns:a16="http://schemas.microsoft.com/office/drawing/2014/main" id="{B525FF71-F709-C636-D246-4EC78495A770}"/>
                    </a:ext>
                  </a:extLst>
                </p:cNvPr>
                <p:cNvSpPr/>
                <p:nvPr/>
              </p:nvSpPr>
              <p:spPr>
                <a:xfrm>
                  <a:off x="6137642" y="5006035"/>
                  <a:ext cx="70757" cy="107106"/>
                </a:xfrm>
                <a:custGeom>
                  <a:avLst/>
                  <a:gdLst>
                    <a:gd name="connsiteX0" fmla="*/ 458 w 70757"/>
                    <a:gd name="connsiteY0" fmla="*/ 57549 h 107106"/>
                    <a:gd name="connsiteX1" fmla="*/ 31795 w 70757"/>
                    <a:gd name="connsiteY1" fmla="*/ 113 h 107106"/>
                    <a:gd name="connsiteX2" fmla="*/ 70371 w 70757"/>
                    <a:gd name="connsiteY2" fmla="*/ 50310 h 107106"/>
                    <a:gd name="connsiteX3" fmla="*/ 39034 w 70757"/>
                    <a:gd name="connsiteY3" fmla="*/ 106984 h 107106"/>
                    <a:gd name="connsiteX4" fmla="*/ 553 w 70757"/>
                    <a:gd name="connsiteY4" fmla="*/ 57644 h 107106"/>
                    <a:gd name="connsiteX5" fmla="*/ 56370 w 70757"/>
                    <a:gd name="connsiteY5" fmla="*/ 51263 h 107106"/>
                    <a:gd name="connsiteX6" fmla="*/ 31890 w 70757"/>
                    <a:gd name="connsiteY6" fmla="*/ 10972 h 107106"/>
                    <a:gd name="connsiteX7" fmla="*/ 14364 w 70757"/>
                    <a:gd name="connsiteY7" fmla="*/ 55739 h 107106"/>
                    <a:gd name="connsiteX8" fmla="*/ 38844 w 70757"/>
                    <a:gd name="connsiteY8" fmla="*/ 96030 h 107106"/>
                    <a:gd name="connsiteX9" fmla="*/ 56370 w 70757"/>
                    <a:gd name="connsiteY9" fmla="*/ 51263 h 107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757" h="107106">
                      <a:moveTo>
                        <a:pt x="458" y="57549"/>
                      </a:moveTo>
                      <a:cubicBezTo>
                        <a:pt x="-2495" y="22497"/>
                        <a:pt x="8935" y="2018"/>
                        <a:pt x="31795" y="113"/>
                      </a:cubicBezTo>
                      <a:cubicBezTo>
                        <a:pt x="51988" y="-1601"/>
                        <a:pt x="67228" y="16210"/>
                        <a:pt x="70371" y="50310"/>
                      </a:cubicBezTo>
                      <a:cubicBezTo>
                        <a:pt x="73229" y="84886"/>
                        <a:pt x="59989" y="105269"/>
                        <a:pt x="39034" y="106984"/>
                      </a:cubicBezTo>
                      <a:cubicBezTo>
                        <a:pt x="17317" y="108793"/>
                        <a:pt x="3315" y="90506"/>
                        <a:pt x="553" y="57644"/>
                      </a:cubicBezTo>
                      <a:close/>
                      <a:moveTo>
                        <a:pt x="56370" y="51263"/>
                      </a:moveTo>
                      <a:cubicBezTo>
                        <a:pt x="54084" y="24402"/>
                        <a:pt x="44559" y="9924"/>
                        <a:pt x="31890" y="10972"/>
                      </a:cubicBezTo>
                      <a:cubicBezTo>
                        <a:pt x="17603" y="12115"/>
                        <a:pt x="12174" y="29450"/>
                        <a:pt x="14364" y="55739"/>
                      </a:cubicBezTo>
                      <a:cubicBezTo>
                        <a:pt x="16460" y="81171"/>
                        <a:pt x="24366" y="97268"/>
                        <a:pt x="38844" y="96030"/>
                      </a:cubicBezTo>
                      <a:cubicBezTo>
                        <a:pt x="51036" y="94982"/>
                        <a:pt x="58656" y="79361"/>
                        <a:pt x="56370" y="5126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81" name="Freeform: Shape 80">
                  <a:extLst>
                    <a:ext uri="{FF2B5EF4-FFF2-40B4-BE49-F238E27FC236}">
                      <a16:creationId xmlns:a16="http://schemas.microsoft.com/office/drawing/2014/main" id="{F08026F9-65BA-B78D-8B76-65B334F82E1E}"/>
                    </a:ext>
                  </a:extLst>
                </p:cNvPr>
                <p:cNvSpPr/>
                <p:nvPr/>
              </p:nvSpPr>
              <p:spPr>
                <a:xfrm>
                  <a:off x="6037230" y="5009196"/>
                  <a:ext cx="35147" cy="103441"/>
                </a:xfrm>
                <a:custGeom>
                  <a:avLst/>
                  <a:gdLst>
                    <a:gd name="connsiteX0" fmla="*/ 14192 w 35147"/>
                    <a:gd name="connsiteY0" fmla="*/ 90297 h 103441"/>
                    <a:gd name="connsiteX1" fmla="*/ 14478 w 35147"/>
                    <a:gd name="connsiteY1" fmla="*/ 90297 h 103441"/>
                    <a:gd name="connsiteX2" fmla="*/ 32385 w 35147"/>
                    <a:gd name="connsiteY2" fmla="*/ 80486 h 103441"/>
                    <a:gd name="connsiteX3" fmla="*/ 35147 w 35147"/>
                    <a:gd name="connsiteY3" fmla="*/ 91154 h 103441"/>
                    <a:gd name="connsiteX4" fmla="*/ 12573 w 35147"/>
                    <a:gd name="connsiteY4" fmla="*/ 103442 h 103441"/>
                    <a:gd name="connsiteX5" fmla="*/ 667 w 35147"/>
                    <a:gd name="connsiteY5" fmla="*/ 103442 h 103441"/>
                    <a:gd name="connsiteX6" fmla="*/ 0 w 35147"/>
                    <a:gd name="connsiteY6" fmla="*/ 0 h 103441"/>
                    <a:gd name="connsiteX7" fmla="*/ 13525 w 35147"/>
                    <a:gd name="connsiteY7" fmla="*/ 0 h 103441"/>
                    <a:gd name="connsiteX8" fmla="*/ 14192 w 35147"/>
                    <a:gd name="connsiteY8" fmla="*/ 90392 h 103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47" h="103441">
                      <a:moveTo>
                        <a:pt x="14192" y="90297"/>
                      </a:moveTo>
                      <a:lnTo>
                        <a:pt x="14478" y="90297"/>
                      </a:lnTo>
                      <a:cubicBezTo>
                        <a:pt x="14478" y="90297"/>
                        <a:pt x="32385" y="80486"/>
                        <a:pt x="32385" y="80486"/>
                      </a:cubicBezTo>
                      <a:lnTo>
                        <a:pt x="35147" y="91154"/>
                      </a:lnTo>
                      <a:lnTo>
                        <a:pt x="12573" y="103442"/>
                      </a:lnTo>
                      <a:lnTo>
                        <a:pt x="667" y="103442"/>
                      </a:lnTo>
                      <a:cubicBezTo>
                        <a:pt x="667" y="103442"/>
                        <a:pt x="0" y="0"/>
                        <a:pt x="0" y="0"/>
                      </a:cubicBezTo>
                      <a:lnTo>
                        <a:pt x="13525" y="0"/>
                      </a:lnTo>
                      <a:cubicBezTo>
                        <a:pt x="13525" y="0"/>
                        <a:pt x="14192" y="90392"/>
                        <a:pt x="14192" y="9039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82" name="Freeform: Shape 81">
                  <a:extLst>
                    <a:ext uri="{FF2B5EF4-FFF2-40B4-BE49-F238E27FC236}">
                      <a16:creationId xmlns:a16="http://schemas.microsoft.com/office/drawing/2014/main" id="{35A32660-41A0-129F-5F42-189402FC8D3E}"/>
                    </a:ext>
                  </a:extLst>
                </p:cNvPr>
                <p:cNvSpPr/>
                <p:nvPr/>
              </p:nvSpPr>
              <p:spPr>
                <a:xfrm>
                  <a:off x="5887675" y="4999086"/>
                  <a:ext cx="70728" cy="106878"/>
                </a:xfrm>
                <a:custGeom>
                  <a:avLst/>
                  <a:gdLst>
                    <a:gd name="connsiteX0" fmla="*/ 298 w 70728"/>
                    <a:gd name="connsiteY0" fmla="*/ 52021 h 106878"/>
                    <a:gd name="connsiteX1" fmla="*/ 40112 w 70728"/>
                    <a:gd name="connsiteY1" fmla="*/ 109 h 106878"/>
                    <a:gd name="connsiteX2" fmla="*/ 70497 w 70728"/>
                    <a:gd name="connsiteY2" fmla="*/ 55640 h 106878"/>
                    <a:gd name="connsiteX3" fmla="*/ 30778 w 70728"/>
                    <a:gd name="connsiteY3" fmla="*/ 106789 h 106878"/>
                    <a:gd name="connsiteX4" fmla="*/ 298 w 70728"/>
                    <a:gd name="connsiteY4" fmla="*/ 52021 h 106878"/>
                    <a:gd name="connsiteX5" fmla="*/ 56495 w 70728"/>
                    <a:gd name="connsiteY5" fmla="*/ 54402 h 106878"/>
                    <a:gd name="connsiteX6" fmla="*/ 38493 w 70728"/>
                    <a:gd name="connsiteY6" fmla="*/ 10777 h 106878"/>
                    <a:gd name="connsiteX7" fmla="*/ 14299 w 70728"/>
                    <a:gd name="connsiteY7" fmla="*/ 52306 h 106878"/>
                    <a:gd name="connsiteX8" fmla="*/ 32302 w 70728"/>
                    <a:gd name="connsiteY8" fmla="*/ 95931 h 106878"/>
                    <a:gd name="connsiteX9" fmla="*/ 56495 w 70728"/>
                    <a:gd name="connsiteY9" fmla="*/ 54402 h 10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728" h="106878">
                      <a:moveTo>
                        <a:pt x="298" y="52021"/>
                      </a:moveTo>
                      <a:cubicBezTo>
                        <a:pt x="2774" y="16873"/>
                        <a:pt x="17252" y="-1605"/>
                        <a:pt x="40112" y="109"/>
                      </a:cubicBezTo>
                      <a:cubicBezTo>
                        <a:pt x="60305" y="1538"/>
                        <a:pt x="72592" y="21445"/>
                        <a:pt x="70497" y="55640"/>
                      </a:cubicBezTo>
                      <a:cubicBezTo>
                        <a:pt x="68020" y="90311"/>
                        <a:pt x="51733" y="108313"/>
                        <a:pt x="30778" y="106789"/>
                      </a:cubicBezTo>
                      <a:cubicBezTo>
                        <a:pt x="8965" y="105266"/>
                        <a:pt x="-1988" y="84977"/>
                        <a:pt x="298" y="52021"/>
                      </a:cubicBezTo>
                      <a:close/>
                      <a:moveTo>
                        <a:pt x="56495" y="54402"/>
                      </a:moveTo>
                      <a:cubicBezTo>
                        <a:pt x="58400" y="27541"/>
                        <a:pt x="51256" y="11730"/>
                        <a:pt x="38493" y="10777"/>
                      </a:cubicBezTo>
                      <a:cubicBezTo>
                        <a:pt x="24205" y="9729"/>
                        <a:pt x="16204" y="25922"/>
                        <a:pt x="14299" y="52306"/>
                      </a:cubicBezTo>
                      <a:cubicBezTo>
                        <a:pt x="12490" y="77738"/>
                        <a:pt x="17824" y="94883"/>
                        <a:pt x="32302" y="95931"/>
                      </a:cubicBezTo>
                      <a:cubicBezTo>
                        <a:pt x="44589" y="96788"/>
                        <a:pt x="54495" y="82501"/>
                        <a:pt x="56495" y="544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83" name="Freeform: Shape 82">
                  <a:extLst>
                    <a:ext uri="{FF2B5EF4-FFF2-40B4-BE49-F238E27FC236}">
                      <a16:creationId xmlns:a16="http://schemas.microsoft.com/office/drawing/2014/main" id="{E3384833-154C-8A57-14C7-CAFAB92E501C}"/>
                    </a:ext>
                  </a:extLst>
                </p:cNvPr>
                <p:cNvSpPr/>
                <p:nvPr/>
              </p:nvSpPr>
              <p:spPr>
                <a:xfrm>
                  <a:off x="5781483" y="4981860"/>
                  <a:ext cx="36004" cy="104108"/>
                </a:xfrm>
                <a:custGeom>
                  <a:avLst/>
                  <a:gdLst>
                    <a:gd name="connsiteX0" fmla="*/ 15335 w 36004"/>
                    <a:gd name="connsiteY0" fmla="*/ 91440 h 104108"/>
                    <a:gd name="connsiteX1" fmla="*/ 15621 w 36004"/>
                    <a:gd name="connsiteY1" fmla="*/ 91440 h 104108"/>
                    <a:gd name="connsiteX2" fmla="*/ 34862 w 36004"/>
                    <a:gd name="connsiteY2" fmla="*/ 84487 h 104108"/>
                    <a:gd name="connsiteX3" fmla="*/ 36004 w 36004"/>
                    <a:gd name="connsiteY3" fmla="*/ 95440 h 104108"/>
                    <a:gd name="connsiteX4" fmla="*/ 11811 w 36004"/>
                    <a:gd name="connsiteY4" fmla="*/ 104108 h 104108"/>
                    <a:gd name="connsiteX5" fmla="*/ 0 w 36004"/>
                    <a:gd name="connsiteY5" fmla="*/ 102394 h 104108"/>
                    <a:gd name="connsiteX6" fmla="*/ 15240 w 36004"/>
                    <a:gd name="connsiteY6" fmla="*/ 0 h 104108"/>
                    <a:gd name="connsiteX7" fmla="*/ 28670 w 36004"/>
                    <a:gd name="connsiteY7" fmla="*/ 2000 h 104108"/>
                    <a:gd name="connsiteX8" fmla="*/ 15335 w 36004"/>
                    <a:gd name="connsiteY8" fmla="*/ 91535 h 10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 h="104108">
                      <a:moveTo>
                        <a:pt x="15335" y="91440"/>
                      </a:moveTo>
                      <a:lnTo>
                        <a:pt x="15621" y="91440"/>
                      </a:lnTo>
                      <a:cubicBezTo>
                        <a:pt x="15621" y="91440"/>
                        <a:pt x="34862" y="84487"/>
                        <a:pt x="34862" y="84487"/>
                      </a:cubicBezTo>
                      <a:lnTo>
                        <a:pt x="36004" y="95440"/>
                      </a:lnTo>
                      <a:lnTo>
                        <a:pt x="11811" y="104108"/>
                      </a:lnTo>
                      <a:lnTo>
                        <a:pt x="0" y="102394"/>
                      </a:lnTo>
                      <a:lnTo>
                        <a:pt x="15240" y="0"/>
                      </a:lnTo>
                      <a:lnTo>
                        <a:pt x="28670" y="2000"/>
                      </a:lnTo>
                      <a:lnTo>
                        <a:pt x="15335" y="915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84" name="Freeform: Shape 83">
                  <a:extLst>
                    <a:ext uri="{FF2B5EF4-FFF2-40B4-BE49-F238E27FC236}">
                      <a16:creationId xmlns:a16="http://schemas.microsoft.com/office/drawing/2014/main" id="{E9A0A486-E59B-B32E-5F82-D8E1E3A93118}"/>
                    </a:ext>
                  </a:extLst>
                </p:cNvPr>
                <p:cNvSpPr/>
                <p:nvPr/>
              </p:nvSpPr>
              <p:spPr>
                <a:xfrm>
                  <a:off x="5640111" y="4954056"/>
                  <a:ext cx="74072" cy="105779"/>
                </a:xfrm>
                <a:custGeom>
                  <a:avLst/>
                  <a:gdLst>
                    <a:gd name="connsiteX0" fmla="*/ 2689 w 74072"/>
                    <a:gd name="connsiteY0" fmla="*/ 46187 h 105779"/>
                    <a:gd name="connsiteX1" fmla="*/ 50028 w 74072"/>
                    <a:gd name="connsiteY1" fmla="*/ 943 h 105779"/>
                    <a:gd name="connsiteX2" fmla="*/ 71554 w 74072"/>
                    <a:gd name="connsiteY2" fmla="*/ 60475 h 105779"/>
                    <a:gd name="connsiteX3" fmla="*/ 24406 w 74072"/>
                    <a:gd name="connsiteY3" fmla="*/ 104956 h 105779"/>
                    <a:gd name="connsiteX4" fmla="*/ 2689 w 74072"/>
                    <a:gd name="connsiteY4" fmla="*/ 46187 h 105779"/>
                    <a:gd name="connsiteX5" fmla="*/ 57839 w 74072"/>
                    <a:gd name="connsiteY5" fmla="*/ 57141 h 105779"/>
                    <a:gd name="connsiteX6" fmla="*/ 46694 w 74072"/>
                    <a:gd name="connsiteY6" fmla="*/ 11326 h 105779"/>
                    <a:gd name="connsiteX7" fmla="*/ 16405 w 74072"/>
                    <a:gd name="connsiteY7" fmla="*/ 48664 h 105779"/>
                    <a:gd name="connsiteX8" fmla="*/ 27549 w 74072"/>
                    <a:gd name="connsiteY8" fmla="*/ 94574 h 105779"/>
                    <a:gd name="connsiteX9" fmla="*/ 57839 w 74072"/>
                    <a:gd name="connsiteY9" fmla="*/ 57141 h 10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072" h="105779">
                      <a:moveTo>
                        <a:pt x="2689" y="46187"/>
                      </a:moveTo>
                      <a:cubicBezTo>
                        <a:pt x="10499" y="11802"/>
                        <a:pt x="27644" y="-4200"/>
                        <a:pt x="50028" y="943"/>
                      </a:cubicBezTo>
                      <a:cubicBezTo>
                        <a:pt x="69745" y="5420"/>
                        <a:pt x="78889" y="27042"/>
                        <a:pt x="71554" y="60475"/>
                      </a:cubicBezTo>
                      <a:cubicBezTo>
                        <a:pt x="63839" y="94384"/>
                        <a:pt x="44980" y="109624"/>
                        <a:pt x="24406" y="104956"/>
                      </a:cubicBezTo>
                      <a:cubicBezTo>
                        <a:pt x="3165" y="100099"/>
                        <a:pt x="-4646" y="78382"/>
                        <a:pt x="2689" y="46187"/>
                      </a:cubicBezTo>
                      <a:close/>
                      <a:moveTo>
                        <a:pt x="57839" y="57141"/>
                      </a:moveTo>
                      <a:cubicBezTo>
                        <a:pt x="63839" y="30852"/>
                        <a:pt x="59172" y="14088"/>
                        <a:pt x="46694" y="11326"/>
                      </a:cubicBezTo>
                      <a:cubicBezTo>
                        <a:pt x="32693" y="8087"/>
                        <a:pt x="22310" y="22946"/>
                        <a:pt x="16405" y="48664"/>
                      </a:cubicBezTo>
                      <a:cubicBezTo>
                        <a:pt x="10690" y="73524"/>
                        <a:pt x="13357" y="91336"/>
                        <a:pt x="27549" y="94574"/>
                      </a:cubicBezTo>
                      <a:cubicBezTo>
                        <a:pt x="39550" y="97336"/>
                        <a:pt x="51552" y="84668"/>
                        <a:pt x="57839" y="5714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85" name="Freeform: Shape 84">
                  <a:extLst>
                    <a:ext uri="{FF2B5EF4-FFF2-40B4-BE49-F238E27FC236}">
                      <a16:creationId xmlns:a16="http://schemas.microsoft.com/office/drawing/2014/main" id="{4522AF05-EC32-30EC-9D8E-3D62781A91A6}"/>
                    </a:ext>
                  </a:extLst>
                </p:cNvPr>
                <p:cNvSpPr/>
                <p:nvPr/>
              </p:nvSpPr>
              <p:spPr>
                <a:xfrm>
                  <a:off x="5532309" y="4917566"/>
                  <a:ext cx="43814" cy="102393"/>
                </a:xfrm>
                <a:custGeom>
                  <a:avLst/>
                  <a:gdLst>
                    <a:gd name="connsiteX0" fmla="*/ 16859 w 43814"/>
                    <a:gd name="connsiteY0" fmla="*/ 90488 h 102393"/>
                    <a:gd name="connsiteX1" fmla="*/ 17145 w 43814"/>
                    <a:gd name="connsiteY1" fmla="*/ 90488 h 102393"/>
                    <a:gd name="connsiteX2" fmla="*/ 37243 w 43814"/>
                    <a:gd name="connsiteY2" fmla="*/ 86678 h 102393"/>
                    <a:gd name="connsiteX3" fmla="*/ 36671 w 43814"/>
                    <a:gd name="connsiteY3" fmla="*/ 97631 h 102393"/>
                    <a:gd name="connsiteX4" fmla="*/ 11430 w 43814"/>
                    <a:gd name="connsiteY4" fmla="*/ 102394 h 102393"/>
                    <a:gd name="connsiteX5" fmla="*/ 0 w 43814"/>
                    <a:gd name="connsiteY5" fmla="*/ 98870 h 102393"/>
                    <a:gd name="connsiteX6" fmla="*/ 30861 w 43814"/>
                    <a:gd name="connsiteY6" fmla="*/ 0 h 102393"/>
                    <a:gd name="connsiteX7" fmla="*/ 43815 w 43814"/>
                    <a:gd name="connsiteY7" fmla="*/ 4001 h 102393"/>
                    <a:gd name="connsiteX8" fmla="*/ 16859 w 43814"/>
                    <a:gd name="connsiteY8" fmla="*/ 90392 h 102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14" h="102393">
                      <a:moveTo>
                        <a:pt x="16859" y="90488"/>
                      </a:moveTo>
                      <a:lnTo>
                        <a:pt x="17145" y="90488"/>
                      </a:lnTo>
                      <a:cubicBezTo>
                        <a:pt x="17145" y="90488"/>
                        <a:pt x="37243" y="86678"/>
                        <a:pt x="37243" y="86678"/>
                      </a:cubicBezTo>
                      <a:lnTo>
                        <a:pt x="36671" y="97631"/>
                      </a:lnTo>
                      <a:lnTo>
                        <a:pt x="11430" y="102394"/>
                      </a:lnTo>
                      <a:lnTo>
                        <a:pt x="0" y="98870"/>
                      </a:lnTo>
                      <a:lnTo>
                        <a:pt x="30861" y="0"/>
                      </a:lnTo>
                      <a:lnTo>
                        <a:pt x="43815" y="4001"/>
                      </a:lnTo>
                      <a:lnTo>
                        <a:pt x="16859" y="9039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86" name="Freeform: Shape 85">
                  <a:extLst>
                    <a:ext uri="{FF2B5EF4-FFF2-40B4-BE49-F238E27FC236}">
                      <a16:creationId xmlns:a16="http://schemas.microsoft.com/office/drawing/2014/main" id="{20888FCF-9F01-14E8-72A8-2FE772FC2F79}"/>
                    </a:ext>
                  </a:extLst>
                </p:cNvPr>
                <p:cNvSpPr/>
                <p:nvPr/>
              </p:nvSpPr>
              <p:spPr>
                <a:xfrm>
                  <a:off x="5401629" y="4872396"/>
                  <a:ext cx="79122" cy="103609"/>
                </a:xfrm>
                <a:custGeom>
                  <a:avLst/>
                  <a:gdLst>
                    <a:gd name="connsiteX0" fmla="*/ 6760 w 79122"/>
                    <a:gd name="connsiteY0" fmla="*/ 40027 h 103609"/>
                    <a:gd name="connsiteX1" fmla="*/ 60386 w 79122"/>
                    <a:gd name="connsiteY1" fmla="*/ 2498 h 103609"/>
                    <a:gd name="connsiteX2" fmla="*/ 72578 w 79122"/>
                    <a:gd name="connsiteY2" fmla="*/ 64601 h 103609"/>
                    <a:gd name="connsiteX3" fmla="*/ 19238 w 79122"/>
                    <a:gd name="connsiteY3" fmla="*/ 101368 h 103609"/>
                    <a:gd name="connsiteX4" fmla="*/ 6760 w 79122"/>
                    <a:gd name="connsiteY4" fmla="*/ 40027 h 103609"/>
                    <a:gd name="connsiteX5" fmla="*/ 59624 w 79122"/>
                    <a:gd name="connsiteY5" fmla="*/ 59363 h 103609"/>
                    <a:gd name="connsiteX6" fmla="*/ 55719 w 79122"/>
                    <a:gd name="connsiteY6" fmla="*/ 12309 h 103609"/>
                    <a:gd name="connsiteX7" fmla="*/ 20095 w 79122"/>
                    <a:gd name="connsiteY7" fmla="*/ 44599 h 103609"/>
                    <a:gd name="connsiteX8" fmla="*/ 24000 w 79122"/>
                    <a:gd name="connsiteY8" fmla="*/ 91652 h 103609"/>
                    <a:gd name="connsiteX9" fmla="*/ 59624 w 79122"/>
                    <a:gd name="connsiteY9" fmla="*/ 59363 h 103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122" h="103609">
                      <a:moveTo>
                        <a:pt x="6760" y="40027"/>
                      </a:moveTo>
                      <a:cubicBezTo>
                        <a:pt x="19809" y="7261"/>
                        <a:pt x="39145" y="-5979"/>
                        <a:pt x="60386" y="2498"/>
                      </a:cubicBezTo>
                      <a:cubicBezTo>
                        <a:pt x="79150" y="10023"/>
                        <a:pt x="84960" y="32693"/>
                        <a:pt x="72578" y="64601"/>
                      </a:cubicBezTo>
                      <a:cubicBezTo>
                        <a:pt x="59719" y="96891"/>
                        <a:pt x="38764" y="109083"/>
                        <a:pt x="19238" y="101368"/>
                      </a:cubicBezTo>
                      <a:cubicBezTo>
                        <a:pt x="-1050" y="93272"/>
                        <a:pt x="-5432" y="70602"/>
                        <a:pt x="6760" y="40027"/>
                      </a:cubicBezTo>
                      <a:close/>
                      <a:moveTo>
                        <a:pt x="59624" y="59363"/>
                      </a:moveTo>
                      <a:cubicBezTo>
                        <a:pt x="69530" y="34312"/>
                        <a:pt x="67530" y="17072"/>
                        <a:pt x="55719" y="12309"/>
                      </a:cubicBezTo>
                      <a:cubicBezTo>
                        <a:pt x="42384" y="7070"/>
                        <a:pt x="29811" y="20025"/>
                        <a:pt x="20095" y="44599"/>
                      </a:cubicBezTo>
                      <a:cubicBezTo>
                        <a:pt x="10665" y="68316"/>
                        <a:pt x="10570" y="86223"/>
                        <a:pt x="24000" y="91652"/>
                      </a:cubicBezTo>
                      <a:cubicBezTo>
                        <a:pt x="35430" y="96225"/>
                        <a:pt x="49242" y="85556"/>
                        <a:pt x="59624" y="5936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87" name="Freeform: Shape 86">
                  <a:extLst>
                    <a:ext uri="{FF2B5EF4-FFF2-40B4-BE49-F238E27FC236}">
                      <a16:creationId xmlns:a16="http://schemas.microsoft.com/office/drawing/2014/main" id="{D7E9BB3B-02CA-9A88-B8C5-6C7CC4A6E847}"/>
                    </a:ext>
                  </a:extLst>
                </p:cNvPr>
                <p:cNvSpPr/>
                <p:nvPr/>
              </p:nvSpPr>
              <p:spPr>
                <a:xfrm>
                  <a:off x="5181900" y="4758549"/>
                  <a:ext cx="84814" cy="100510"/>
                </a:xfrm>
                <a:custGeom>
                  <a:avLst/>
                  <a:gdLst>
                    <a:gd name="connsiteX0" fmla="*/ 11796 w 84814"/>
                    <a:gd name="connsiteY0" fmla="*/ 33667 h 100510"/>
                    <a:gd name="connsiteX1" fmla="*/ 70470 w 84814"/>
                    <a:gd name="connsiteY1" fmla="*/ 4616 h 100510"/>
                    <a:gd name="connsiteX2" fmla="*/ 73232 w 84814"/>
                    <a:gd name="connsiteY2" fmla="*/ 67862 h 100510"/>
                    <a:gd name="connsiteX3" fmla="*/ 14939 w 84814"/>
                    <a:gd name="connsiteY3" fmla="*/ 96247 h 100510"/>
                    <a:gd name="connsiteX4" fmla="*/ 11796 w 84814"/>
                    <a:gd name="connsiteY4" fmla="*/ 33667 h 100510"/>
                    <a:gd name="connsiteX5" fmla="*/ 61135 w 84814"/>
                    <a:gd name="connsiteY5" fmla="*/ 60623 h 100510"/>
                    <a:gd name="connsiteX6" fmla="*/ 64278 w 84814"/>
                    <a:gd name="connsiteY6" fmla="*/ 13570 h 100510"/>
                    <a:gd name="connsiteX7" fmla="*/ 24178 w 84814"/>
                    <a:gd name="connsiteY7" fmla="*/ 40144 h 100510"/>
                    <a:gd name="connsiteX8" fmla="*/ 21035 w 84814"/>
                    <a:gd name="connsiteY8" fmla="*/ 87198 h 100510"/>
                    <a:gd name="connsiteX9" fmla="*/ 61135 w 84814"/>
                    <a:gd name="connsiteY9" fmla="*/ 60623 h 100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814" h="100510">
                      <a:moveTo>
                        <a:pt x="11796" y="33667"/>
                      </a:moveTo>
                      <a:cubicBezTo>
                        <a:pt x="29607" y="3283"/>
                        <a:pt x="50658" y="-6909"/>
                        <a:pt x="70470" y="4616"/>
                      </a:cubicBezTo>
                      <a:cubicBezTo>
                        <a:pt x="87901" y="14808"/>
                        <a:pt x="90187" y="38144"/>
                        <a:pt x="73232" y="67862"/>
                      </a:cubicBezTo>
                      <a:cubicBezTo>
                        <a:pt x="55706" y="97866"/>
                        <a:pt x="33132" y="106819"/>
                        <a:pt x="14939" y="96247"/>
                      </a:cubicBezTo>
                      <a:cubicBezTo>
                        <a:pt x="-3920" y="85198"/>
                        <a:pt x="-4873" y="62147"/>
                        <a:pt x="11796" y="33667"/>
                      </a:cubicBezTo>
                      <a:close/>
                      <a:moveTo>
                        <a:pt x="61135" y="60623"/>
                      </a:moveTo>
                      <a:cubicBezTo>
                        <a:pt x="74756" y="37382"/>
                        <a:pt x="75328" y="19951"/>
                        <a:pt x="64278" y="13570"/>
                      </a:cubicBezTo>
                      <a:cubicBezTo>
                        <a:pt x="51896" y="6331"/>
                        <a:pt x="37513" y="17284"/>
                        <a:pt x="24178" y="40144"/>
                      </a:cubicBezTo>
                      <a:cubicBezTo>
                        <a:pt x="11320" y="62147"/>
                        <a:pt x="8557" y="79864"/>
                        <a:pt x="21035" y="87198"/>
                      </a:cubicBezTo>
                      <a:cubicBezTo>
                        <a:pt x="31608" y="93389"/>
                        <a:pt x="46848" y="84912"/>
                        <a:pt x="61135" y="6062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88" name="Freeform: Shape 87">
                  <a:extLst>
                    <a:ext uri="{FF2B5EF4-FFF2-40B4-BE49-F238E27FC236}">
                      <a16:creationId xmlns:a16="http://schemas.microsoft.com/office/drawing/2014/main" id="{42732662-4AD1-047A-0AEE-8CC51C3FE36D}"/>
                    </a:ext>
                  </a:extLst>
                </p:cNvPr>
                <p:cNvSpPr/>
                <p:nvPr/>
              </p:nvSpPr>
              <p:spPr>
                <a:xfrm>
                  <a:off x="5083587" y="4689633"/>
                  <a:ext cx="70104" cy="94868"/>
                </a:xfrm>
                <a:custGeom>
                  <a:avLst/>
                  <a:gdLst>
                    <a:gd name="connsiteX0" fmla="*/ 18479 w 70104"/>
                    <a:gd name="connsiteY0" fmla="*/ 82105 h 94868"/>
                    <a:gd name="connsiteX1" fmla="*/ 18764 w 70104"/>
                    <a:gd name="connsiteY1" fmla="*/ 82296 h 94868"/>
                    <a:gd name="connsiteX2" fmla="*/ 39148 w 70104"/>
                    <a:gd name="connsiteY2" fmla="*/ 84582 h 94868"/>
                    <a:gd name="connsiteX3" fmla="*/ 35338 w 70104"/>
                    <a:gd name="connsiteY3" fmla="*/ 94869 h 94868"/>
                    <a:gd name="connsiteX4" fmla="*/ 9811 w 70104"/>
                    <a:gd name="connsiteY4" fmla="*/ 91916 h 94868"/>
                    <a:gd name="connsiteX5" fmla="*/ 0 w 70104"/>
                    <a:gd name="connsiteY5" fmla="*/ 85154 h 94868"/>
                    <a:gd name="connsiteX6" fmla="*/ 58960 w 70104"/>
                    <a:gd name="connsiteY6" fmla="*/ 0 h 94868"/>
                    <a:gd name="connsiteX7" fmla="*/ 70104 w 70104"/>
                    <a:gd name="connsiteY7" fmla="*/ 7715 h 94868"/>
                    <a:gd name="connsiteX8" fmla="*/ 18574 w 70104"/>
                    <a:gd name="connsiteY8" fmla="*/ 82105 h 9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04" h="94868">
                      <a:moveTo>
                        <a:pt x="18479" y="82105"/>
                      </a:moveTo>
                      <a:lnTo>
                        <a:pt x="18764" y="82296"/>
                      </a:lnTo>
                      <a:lnTo>
                        <a:pt x="39148" y="84582"/>
                      </a:lnTo>
                      <a:lnTo>
                        <a:pt x="35338" y="94869"/>
                      </a:lnTo>
                      <a:lnTo>
                        <a:pt x="9811" y="91916"/>
                      </a:lnTo>
                      <a:lnTo>
                        <a:pt x="0" y="85154"/>
                      </a:lnTo>
                      <a:lnTo>
                        <a:pt x="58960" y="0"/>
                      </a:lnTo>
                      <a:lnTo>
                        <a:pt x="70104" y="7715"/>
                      </a:lnTo>
                      <a:lnTo>
                        <a:pt x="18574" y="821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89" name="Freeform: Shape 88">
                  <a:extLst>
                    <a:ext uri="{FF2B5EF4-FFF2-40B4-BE49-F238E27FC236}">
                      <a16:creationId xmlns:a16="http://schemas.microsoft.com/office/drawing/2014/main" id="{EF66BD00-F4AB-9A03-9660-46057C785B7B}"/>
                    </a:ext>
                  </a:extLst>
                </p:cNvPr>
                <p:cNvSpPr/>
                <p:nvPr/>
              </p:nvSpPr>
              <p:spPr>
                <a:xfrm>
                  <a:off x="4978422" y="4611174"/>
                  <a:ext cx="90610" cy="96331"/>
                </a:xfrm>
                <a:custGeom>
                  <a:avLst/>
                  <a:gdLst>
                    <a:gd name="connsiteX0" fmla="*/ 17630 w 90610"/>
                    <a:gd name="connsiteY0" fmla="*/ 27119 h 96331"/>
                    <a:gd name="connsiteX1" fmla="*/ 80018 w 90610"/>
                    <a:gd name="connsiteY1" fmla="*/ 7402 h 96331"/>
                    <a:gd name="connsiteX2" fmla="*/ 73065 w 90610"/>
                    <a:gd name="connsiteY2" fmla="*/ 70267 h 96331"/>
                    <a:gd name="connsiteX3" fmla="*/ 11153 w 90610"/>
                    <a:gd name="connsiteY3" fmla="*/ 89412 h 96331"/>
                    <a:gd name="connsiteX4" fmla="*/ 17534 w 90610"/>
                    <a:gd name="connsiteY4" fmla="*/ 27119 h 96331"/>
                    <a:gd name="connsiteX5" fmla="*/ 62302 w 90610"/>
                    <a:gd name="connsiteY5" fmla="*/ 61313 h 96331"/>
                    <a:gd name="connsiteX6" fmla="*/ 72589 w 90610"/>
                    <a:gd name="connsiteY6" fmla="*/ 15308 h 96331"/>
                    <a:gd name="connsiteX7" fmla="*/ 28964 w 90610"/>
                    <a:gd name="connsiteY7" fmla="*/ 35501 h 96331"/>
                    <a:gd name="connsiteX8" fmla="*/ 18677 w 90610"/>
                    <a:gd name="connsiteY8" fmla="*/ 81507 h 96331"/>
                    <a:gd name="connsiteX9" fmla="*/ 62302 w 90610"/>
                    <a:gd name="connsiteY9" fmla="*/ 61313 h 9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610" h="96331">
                      <a:moveTo>
                        <a:pt x="17630" y="27119"/>
                      </a:moveTo>
                      <a:cubicBezTo>
                        <a:pt x="39823" y="-218"/>
                        <a:pt x="62207" y="-7076"/>
                        <a:pt x="80018" y="7402"/>
                      </a:cubicBezTo>
                      <a:cubicBezTo>
                        <a:pt x="95735" y="20166"/>
                        <a:pt x="94401" y="43502"/>
                        <a:pt x="73065" y="70267"/>
                      </a:cubicBezTo>
                      <a:cubicBezTo>
                        <a:pt x="51158" y="97223"/>
                        <a:pt x="27536" y="102652"/>
                        <a:pt x="11153" y="89412"/>
                      </a:cubicBezTo>
                      <a:cubicBezTo>
                        <a:pt x="-5802" y="75696"/>
                        <a:pt x="-3230" y="52741"/>
                        <a:pt x="17534" y="27119"/>
                      </a:cubicBezTo>
                      <a:close/>
                      <a:moveTo>
                        <a:pt x="62302" y="61313"/>
                      </a:moveTo>
                      <a:cubicBezTo>
                        <a:pt x="79256" y="40359"/>
                        <a:pt x="82495" y="23309"/>
                        <a:pt x="72589" y="15308"/>
                      </a:cubicBezTo>
                      <a:cubicBezTo>
                        <a:pt x="61445" y="6259"/>
                        <a:pt x="45633" y="14927"/>
                        <a:pt x="28964" y="35501"/>
                      </a:cubicBezTo>
                      <a:cubicBezTo>
                        <a:pt x="12867" y="55313"/>
                        <a:pt x="7438" y="72363"/>
                        <a:pt x="18677" y="81507"/>
                      </a:cubicBezTo>
                      <a:cubicBezTo>
                        <a:pt x="28202" y="89222"/>
                        <a:pt x="44585" y="83221"/>
                        <a:pt x="62302" y="613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90" name="Freeform: Shape 89">
                  <a:extLst>
                    <a:ext uri="{FF2B5EF4-FFF2-40B4-BE49-F238E27FC236}">
                      <a16:creationId xmlns:a16="http://schemas.microsoft.com/office/drawing/2014/main" id="{F8477B9B-0E28-1DCF-F9AC-2DAA8582A303}"/>
                    </a:ext>
                  </a:extLst>
                </p:cNvPr>
                <p:cNvSpPr/>
                <p:nvPr/>
              </p:nvSpPr>
              <p:spPr>
                <a:xfrm>
                  <a:off x="4889944" y="4529327"/>
                  <a:ext cx="80962" cy="90106"/>
                </a:xfrm>
                <a:custGeom>
                  <a:avLst/>
                  <a:gdLst>
                    <a:gd name="connsiteX0" fmla="*/ 18859 w 80962"/>
                    <a:gd name="connsiteY0" fmla="*/ 74962 h 90106"/>
                    <a:gd name="connsiteX1" fmla="*/ 19050 w 80962"/>
                    <a:gd name="connsiteY1" fmla="*/ 75152 h 90106"/>
                    <a:gd name="connsiteX2" fmla="*/ 38767 w 80962"/>
                    <a:gd name="connsiteY2" fmla="*/ 80486 h 90106"/>
                    <a:gd name="connsiteX3" fmla="*/ 33433 w 80962"/>
                    <a:gd name="connsiteY3" fmla="*/ 90107 h 90106"/>
                    <a:gd name="connsiteX4" fmla="*/ 8668 w 80962"/>
                    <a:gd name="connsiteY4" fmla="*/ 83344 h 90106"/>
                    <a:gd name="connsiteX5" fmla="*/ 0 w 80962"/>
                    <a:gd name="connsiteY5" fmla="*/ 75152 h 90106"/>
                    <a:gd name="connsiteX6" fmla="*/ 71152 w 80962"/>
                    <a:gd name="connsiteY6" fmla="*/ 0 h 90106"/>
                    <a:gd name="connsiteX7" fmla="*/ 80963 w 80962"/>
                    <a:gd name="connsiteY7" fmla="*/ 9335 h 90106"/>
                    <a:gd name="connsiteX8" fmla="*/ 18764 w 80962"/>
                    <a:gd name="connsiteY8" fmla="*/ 75057 h 9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962" h="90106">
                      <a:moveTo>
                        <a:pt x="18859" y="74962"/>
                      </a:moveTo>
                      <a:lnTo>
                        <a:pt x="19050" y="75152"/>
                      </a:lnTo>
                      <a:lnTo>
                        <a:pt x="38767" y="80486"/>
                      </a:lnTo>
                      <a:lnTo>
                        <a:pt x="33433" y="90107"/>
                      </a:lnTo>
                      <a:lnTo>
                        <a:pt x="8668" y="83344"/>
                      </a:lnTo>
                      <a:lnTo>
                        <a:pt x="0" y="75152"/>
                      </a:lnTo>
                      <a:lnTo>
                        <a:pt x="71152" y="0"/>
                      </a:lnTo>
                      <a:lnTo>
                        <a:pt x="80963" y="9335"/>
                      </a:lnTo>
                      <a:lnTo>
                        <a:pt x="18764" y="7505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91" name="Freeform: Shape 90">
                  <a:extLst>
                    <a:ext uri="{FF2B5EF4-FFF2-40B4-BE49-F238E27FC236}">
                      <a16:creationId xmlns:a16="http://schemas.microsoft.com/office/drawing/2014/main" id="{027F4320-6D2E-6DB2-FC85-1DD5B78CA645}"/>
                    </a:ext>
                  </a:extLst>
                </p:cNvPr>
                <p:cNvSpPr/>
                <p:nvPr/>
              </p:nvSpPr>
              <p:spPr>
                <a:xfrm>
                  <a:off x="4800434" y="4435547"/>
                  <a:ext cx="95856" cy="91401"/>
                </a:xfrm>
                <a:custGeom>
                  <a:avLst/>
                  <a:gdLst>
                    <a:gd name="connsiteX0" fmla="*/ 23787 w 95856"/>
                    <a:gd name="connsiteY0" fmla="*/ 20628 h 91401"/>
                    <a:gd name="connsiteX1" fmla="*/ 88461 w 95856"/>
                    <a:gd name="connsiteY1" fmla="*/ 10626 h 91401"/>
                    <a:gd name="connsiteX2" fmla="*/ 71983 w 95856"/>
                    <a:gd name="connsiteY2" fmla="*/ 71777 h 91401"/>
                    <a:gd name="connsiteX3" fmla="*/ 7880 w 95856"/>
                    <a:gd name="connsiteY3" fmla="*/ 81207 h 91401"/>
                    <a:gd name="connsiteX4" fmla="*/ 23787 w 95856"/>
                    <a:gd name="connsiteY4" fmla="*/ 20628 h 91401"/>
                    <a:gd name="connsiteX5" fmla="*/ 62744 w 95856"/>
                    <a:gd name="connsiteY5" fmla="*/ 61299 h 91401"/>
                    <a:gd name="connsiteX6" fmla="*/ 79984 w 95856"/>
                    <a:gd name="connsiteY6" fmla="*/ 17389 h 91401"/>
                    <a:gd name="connsiteX7" fmla="*/ 33693 w 95856"/>
                    <a:gd name="connsiteY7" fmla="*/ 30629 h 91401"/>
                    <a:gd name="connsiteX8" fmla="*/ 16548 w 95856"/>
                    <a:gd name="connsiteY8" fmla="*/ 74539 h 91401"/>
                    <a:gd name="connsiteX9" fmla="*/ 62839 w 95856"/>
                    <a:gd name="connsiteY9" fmla="*/ 61299 h 9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856" h="91401">
                      <a:moveTo>
                        <a:pt x="23787" y="20628"/>
                      </a:moveTo>
                      <a:cubicBezTo>
                        <a:pt x="49885" y="-2994"/>
                        <a:pt x="73126" y="-6328"/>
                        <a:pt x="88461" y="10626"/>
                      </a:cubicBezTo>
                      <a:cubicBezTo>
                        <a:pt x="101987" y="25676"/>
                        <a:pt x="97224" y="48536"/>
                        <a:pt x="71983" y="71777"/>
                      </a:cubicBezTo>
                      <a:cubicBezTo>
                        <a:pt x="46266" y="95113"/>
                        <a:pt x="21977" y="96828"/>
                        <a:pt x="7880" y="81207"/>
                      </a:cubicBezTo>
                      <a:cubicBezTo>
                        <a:pt x="-6789" y="65014"/>
                        <a:pt x="-693" y="42726"/>
                        <a:pt x="23787" y="20628"/>
                      </a:cubicBezTo>
                      <a:close/>
                      <a:moveTo>
                        <a:pt x="62744" y="61299"/>
                      </a:moveTo>
                      <a:cubicBezTo>
                        <a:pt x="82746" y="43202"/>
                        <a:pt x="88461" y="26819"/>
                        <a:pt x="79984" y="17389"/>
                      </a:cubicBezTo>
                      <a:cubicBezTo>
                        <a:pt x="70364" y="6721"/>
                        <a:pt x="53314" y="12912"/>
                        <a:pt x="33693" y="30629"/>
                      </a:cubicBezTo>
                      <a:cubicBezTo>
                        <a:pt x="14833" y="47774"/>
                        <a:pt x="6737" y="63871"/>
                        <a:pt x="16548" y="74539"/>
                      </a:cubicBezTo>
                      <a:cubicBezTo>
                        <a:pt x="24739" y="83588"/>
                        <a:pt x="41884" y="80159"/>
                        <a:pt x="62839" y="6129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92" name="Freeform: Shape 91">
                  <a:extLst>
                    <a:ext uri="{FF2B5EF4-FFF2-40B4-BE49-F238E27FC236}">
                      <a16:creationId xmlns:a16="http://schemas.microsoft.com/office/drawing/2014/main" id="{2A53E20E-E006-966B-908A-0C642349BA3B}"/>
                    </a:ext>
                  </a:extLst>
                </p:cNvPr>
                <p:cNvSpPr/>
                <p:nvPr/>
              </p:nvSpPr>
              <p:spPr>
                <a:xfrm>
                  <a:off x="4654682" y="4239064"/>
                  <a:ext cx="100136" cy="85951"/>
                </a:xfrm>
                <a:custGeom>
                  <a:avLst/>
                  <a:gdLst>
                    <a:gd name="connsiteX0" fmla="*/ 29903 w 100136"/>
                    <a:gd name="connsiteY0" fmla="*/ 14514 h 85951"/>
                    <a:gd name="connsiteX1" fmla="*/ 95339 w 100136"/>
                    <a:gd name="connsiteY1" fmla="*/ 14419 h 85951"/>
                    <a:gd name="connsiteX2" fmla="*/ 69908 w 100136"/>
                    <a:gd name="connsiteY2" fmla="*/ 72331 h 85951"/>
                    <a:gd name="connsiteX3" fmla="*/ 5138 w 100136"/>
                    <a:gd name="connsiteY3" fmla="*/ 72045 h 85951"/>
                    <a:gd name="connsiteX4" fmla="*/ 29903 w 100136"/>
                    <a:gd name="connsiteY4" fmla="*/ 14514 h 85951"/>
                    <a:gd name="connsiteX5" fmla="*/ 62288 w 100136"/>
                    <a:gd name="connsiteY5" fmla="*/ 60519 h 85951"/>
                    <a:gd name="connsiteX6" fmla="*/ 85910 w 100136"/>
                    <a:gd name="connsiteY6" fmla="*/ 19657 h 85951"/>
                    <a:gd name="connsiteX7" fmla="*/ 38189 w 100136"/>
                    <a:gd name="connsiteY7" fmla="*/ 25849 h 85951"/>
                    <a:gd name="connsiteX8" fmla="*/ 14567 w 100136"/>
                    <a:gd name="connsiteY8" fmla="*/ 66711 h 85951"/>
                    <a:gd name="connsiteX9" fmla="*/ 62288 w 100136"/>
                    <a:gd name="connsiteY9" fmla="*/ 60519 h 8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136" h="85951">
                      <a:moveTo>
                        <a:pt x="29903" y="14514"/>
                      </a:moveTo>
                      <a:cubicBezTo>
                        <a:pt x="59240" y="-4917"/>
                        <a:pt x="82671" y="-4727"/>
                        <a:pt x="95339" y="14419"/>
                      </a:cubicBezTo>
                      <a:cubicBezTo>
                        <a:pt x="106484" y="31278"/>
                        <a:pt x="98292" y="53185"/>
                        <a:pt x="69908" y="72331"/>
                      </a:cubicBezTo>
                      <a:cubicBezTo>
                        <a:pt x="40952" y="91476"/>
                        <a:pt x="16758" y="89571"/>
                        <a:pt x="5138" y="72045"/>
                      </a:cubicBezTo>
                      <a:cubicBezTo>
                        <a:pt x="-6864" y="53852"/>
                        <a:pt x="2471" y="32802"/>
                        <a:pt x="29903" y="14514"/>
                      </a:cubicBezTo>
                      <a:close/>
                      <a:moveTo>
                        <a:pt x="62288" y="60519"/>
                      </a:moveTo>
                      <a:cubicBezTo>
                        <a:pt x="84767" y="45660"/>
                        <a:pt x="92958" y="30325"/>
                        <a:pt x="85910" y="19657"/>
                      </a:cubicBezTo>
                      <a:cubicBezTo>
                        <a:pt x="78004" y="7656"/>
                        <a:pt x="60287" y="11180"/>
                        <a:pt x="38189" y="25849"/>
                      </a:cubicBezTo>
                      <a:cubicBezTo>
                        <a:pt x="16949" y="39945"/>
                        <a:pt x="6566" y="54614"/>
                        <a:pt x="14567" y="66711"/>
                      </a:cubicBezTo>
                      <a:cubicBezTo>
                        <a:pt x="21330" y="76902"/>
                        <a:pt x="38761" y="76141"/>
                        <a:pt x="62288" y="605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93" name="Freeform: Shape 92">
                  <a:extLst>
                    <a:ext uri="{FF2B5EF4-FFF2-40B4-BE49-F238E27FC236}">
                      <a16:creationId xmlns:a16="http://schemas.microsoft.com/office/drawing/2014/main" id="{783C0E6D-3F4A-5CE0-5FA8-0D7E5294E27B}"/>
                    </a:ext>
                  </a:extLst>
                </p:cNvPr>
                <p:cNvSpPr/>
                <p:nvPr/>
              </p:nvSpPr>
              <p:spPr>
                <a:xfrm>
                  <a:off x="4593526" y="4139088"/>
                  <a:ext cx="97154" cy="74676"/>
                </a:xfrm>
                <a:custGeom>
                  <a:avLst/>
                  <a:gdLst>
                    <a:gd name="connsiteX0" fmla="*/ 18002 w 97154"/>
                    <a:gd name="connsiteY0" fmla="*/ 55817 h 74676"/>
                    <a:gd name="connsiteX1" fmla="*/ 18193 w 97154"/>
                    <a:gd name="connsiteY1" fmla="*/ 56102 h 74676"/>
                    <a:gd name="connsiteX2" fmla="*/ 35433 w 97154"/>
                    <a:gd name="connsiteY2" fmla="*/ 67151 h 74676"/>
                    <a:gd name="connsiteX3" fmla="*/ 27432 w 97154"/>
                    <a:gd name="connsiteY3" fmla="*/ 74676 h 74676"/>
                    <a:gd name="connsiteX4" fmla="*/ 5810 w 97154"/>
                    <a:gd name="connsiteY4" fmla="*/ 60769 h 74676"/>
                    <a:gd name="connsiteX5" fmla="*/ 0 w 97154"/>
                    <a:gd name="connsiteY5" fmla="*/ 50292 h 74676"/>
                    <a:gd name="connsiteX6" fmla="*/ 90583 w 97154"/>
                    <a:gd name="connsiteY6" fmla="*/ 0 h 74676"/>
                    <a:gd name="connsiteX7" fmla="*/ 97155 w 97154"/>
                    <a:gd name="connsiteY7" fmla="*/ 11811 h 74676"/>
                    <a:gd name="connsiteX8" fmla="*/ 18002 w 97154"/>
                    <a:gd name="connsiteY8" fmla="*/ 55817 h 7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154" h="74676">
                      <a:moveTo>
                        <a:pt x="18002" y="55817"/>
                      </a:moveTo>
                      <a:lnTo>
                        <a:pt x="18193" y="56102"/>
                      </a:lnTo>
                      <a:lnTo>
                        <a:pt x="35433" y="67151"/>
                      </a:lnTo>
                      <a:lnTo>
                        <a:pt x="27432" y="74676"/>
                      </a:lnTo>
                      <a:lnTo>
                        <a:pt x="5810" y="60769"/>
                      </a:lnTo>
                      <a:lnTo>
                        <a:pt x="0" y="50292"/>
                      </a:lnTo>
                      <a:lnTo>
                        <a:pt x="90583" y="0"/>
                      </a:lnTo>
                      <a:lnTo>
                        <a:pt x="97155" y="11811"/>
                      </a:lnTo>
                      <a:lnTo>
                        <a:pt x="18002" y="5581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94" name="Freeform: Shape 93">
                  <a:extLst>
                    <a:ext uri="{FF2B5EF4-FFF2-40B4-BE49-F238E27FC236}">
                      <a16:creationId xmlns:a16="http://schemas.microsoft.com/office/drawing/2014/main" id="{1DE9B22B-9A9C-AB95-4E5E-80F255FE6FD9}"/>
                    </a:ext>
                  </a:extLst>
                </p:cNvPr>
                <p:cNvSpPr/>
                <p:nvPr/>
              </p:nvSpPr>
              <p:spPr>
                <a:xfrm>
                  <a:off x="4539446" y="4019392"/>
                  <a:ext cx="103593" cy="80325"/>
                </a:xfrm>
                <a:custGeom>
                  <a:avLst/>
                  <a:gdLst>
                    <a:gd name="connsiteX0" fmla="*/ 36267 w 103593"/>
                    <a:gd name="connsiteY0" fmla="*/ 8825 h 80325"/>
                    <a:gd name="connsiteX1" fmla="*/ 100942 w 103593"/>
                    <a:gd name="connsiteY1" fmla="*/ 18826 h 80325"/>
                    <a:gd name="connsiteX2" fmla="*/ 66843 w 103593"/>
                    <a:gd name="connsiteY2" fmla="*/ 72166 h 80325"/>
                    <a:gd name="connsiteX3" fmla="*/ 2930 w 103593"/>
                    <a:gd name="connsiteY3" fmla="*/ 61879 h 80325"/>
                    <a:gd name="connsiteX4" fmla="*/ 36267 w 103593"/>
                    <a:gd name="connsiteY4" fmla="*/ 8920 h 80325"/>
                    <a:gd name="connsiteX5" fmla="*/ 61128 w 103593"/>
                    <a:gd name="connsiteY5" fmla="*/ 59307 h 80325"/>
                    <a:gd name="connsiteX6" fmla="*/ 90750 w 103593"/>
                    <a:gd name="connsiteY6" fmla="*/ 22636 h 80325"/>
                    <a:gd name="connsiteX7" fmla="*/ 42649 w 103593"/>
                    <a:gd name="connsiteY7" fmla="*/ 21397 h 80325"/>
                    <a:gd name="connsiteX8" fmla="*/ 13026 w 103593"/>
                    <a:gd name="connsiteY8" fmla="*/ 58069 h 80325"/>
                    <a:gd name="connsiteX9" fmla="*/ 61128 w 103593"/>
                    <a:gd name="connsiteY9" fmla="*/ 59307 h 8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593" h="80325">
                      <a:moveTo>
                        <a:pt x="36267" y="8825"/>
                      </a:moveTo>
                      <a:cubicBezTo>
                        <a:pt x="68271" y="-5844"/>
                        <a:pt x="91417" y="-2034"/>
                        <a:pt x="100942" y="18826"/>
                      </a:cubicBezTo>
                      <a:cubicBezTo>
                        <a:pt x="109324" y="37209"/>
                        <a:pt x="97799" y="57592"/>
                        <a:pt x="66843" y="72166"/>
                      </a:cubicBezTo>
                      <a:cubicBezTo>
                        <a:pt x="35220" y="86644"/>
                        <a:pt x="11693" y="81024"/>
                        <a:pt x="2930" y="61879"/>
                      </a:cubicBezTo>
                      <a:cubicBezTo>
                        <a:pt x="-6214" y="42067"/>
                        <a:pt x="6359" y="22636"/>
                        <a:pt x="36267" y="8920"/>
                      </a:cubicBezTo>
                      <a:close/>
                      <a:moveTo>
                        <a:pt x="61128" y="59307"/>
                      </a:moveTo>
                      <a:cubicBezTo>
                        <a:pt x="85607" y="48067"/>
                        <a:pt x="96084" y="34161"/>
                        <a:pt x="90750" y="22636"/>
                      </a:cubicBezTo>
                      <a:cubicBezTo>
                        <a:pt x="84750" y="9587"/>
                        <a:pt x="66747" y="10349"/>
                        <a:pt x="42649" y="21397"/>
                      </a:cubicBezTo>
                      <a:cubicBezTo>
                        <a:pt x="19503" y="31970"/>
                        <a:pt x="7026" y="44924"/>
                        <a:pt x="13026" y="58069"/>
                      </a:cubicBezTo>
                      <a:cubicBezTo>
                        <a:pt x="18170" y="69213"/>
                        <a:pt x="35505" y="71118"/>
                        <a:pt x="61128" y="593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95" name="Freeform: Shape 94">
                  <a:extLst>
                    <a:ext uri="{FF2B5EF4-FFF2-40B4-BE49-F238E27FC236}">
                      <a16:creationId xmlns:a16="http://schemas.microsoft.com/office/drawing/2014/main" id="{54046229-B3AF-EE47-1CB4-33A7B337E7B9}"/>
                    </a:ext>
                  </a:extLst>
                </p:cNvPr>
                <p:cNvSpPr/>
                <p:nvPr/>
              </p:nvSpPr>
              <p:spPr>
                <a:xfrm>
                  <a:off x="4495513" y="3914774"/>
                  <a:ext cx="101917" cy="64103"/>
                </a:xfrm>
                <a:custGeom>
                  <a:avLst/>
                  <a:gdLst>
                    <a:gd name="connsiteX0" fmla="*/ 16954 w 101917"/>
                    <a:gd name="connsiteY0" fmla="*/ 44101 h 64103"/>
                    <a:gd name="connsiteX1" fmla="*/ 16954 w 101917"/>
                    <a:gd name="connsiteY1" fmla="*/ 44387 h 64103"/>
                    <a:gd name="connsiteX2" fmla="*/ 32385 w 101917"/>
                    <a:gd name="connsiteY2" fmla="*/ 57912 h 64103"/>
                    <a:gd name="connsiteX3" fmla="*/ 23336 w 101917"/>
                    <a:gd name="connsiteY3" fmla="*/ 64103 h 64103"/>
                    <a:gd name="connsiteX4" fmla="*/ 4096 w 101917"/>
                    <a:gd name="connsiteY4" fmla="*/ 47054 h 64103"/>
                    <a:gd name="connsiteX5" fmla="*/ 0 w 101917"/>
                    <a:gd name="connsiteY5" fmla="*/ 35814 h 64103"/>
                    <a:gd name="connsiteX6" fmla="*/ 97250 w 101917"/>
                    <a:gd name="connsiteY6" fmla="*/ 0 h 64103"/>
                    <a:gd name="connsiteX7" fmla="*/ 101918 w 101917"/>
                    <a:gd name="connsiteY7" fmla="*/ 12763 h 64103"/>
                    <a:gd name="connsiteX8" fmla="*/ 16954 w 101917"/>
                    <a:gd name="connsiteY8" fmla="*/ 44005 h 6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917" h="64103">
                      <a:moveTo>
                        <a:pt x="16954" y="44101"/>
                      </a:moveTo>
                      <a:lnTo>
                        <a:pt x="16954" y="44387"/>
                      </a:lnTo>
                      <a:cubicBezTo>
                        <a:pt x="16954" y="44387"/>
                        <a:pt x="32385" y="57912"/>
                        <a:pt x="32385" y="57912"/>
                      </a:cubicBezTo>
                      <a:lnTo>
                        <a:pt x="23336" y="64103"/>
                      </a:lnTo>
                      <a:lnTo>
                        <a:pt x="4096" y="47054"/>
                      </a:lnTo>
                      <a:lnTo>
                        <a:pt x="0" y="35814"/>
                      </a:lnTo>
                      <a:lnTo>
                        <a:pt x="97250" y="0"/>
                      </a:lnTo>
                      <a:lnTo>
                        <a:pt x="101918" y="12763"/>
                      </a:lnTo>
                      <a:lnTo>
                        <a:pt x="16954" y="4400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96" name="Freeform: Shape 95">
                  <a:extLst>
                    <a:ext uri="{FF2B5EF4-FFF2-40B4-BE49-F238E27FC236}">
                      <a16:creationId xmlns:a16="http://schemas.microsoft.com/office/drawing/2014/main" id="{D63FF5E1-D6FD-DB0F-E734-55DA3B4BA92E}"/>
                    </a:ext>
                  </a:extLst>
                </p:cNvPr>
                <p:cNvSpPr/>
                <p:nvPr/>
              </p:nvSpPr>
              <p:spPr>
                <a:xfrm>
                  <a:off x="4460229" y="3784689"/>
                  <a:ext cx="105870" cy="75176"/>
                </a:xfrm>
                <a:custGeom>
                  <a:avLst/>
                  <a:gdLst>
                    <a:gd name="connsiteX0" fmla="*/ 42333 w 105870"/>
                    <a:gd name="connsiteY0" fmla="*/ 4165 h 75176"/>
                    <a:gd name="connsiteX1" fmla="*/ 104721 w 105870"/>
                    <a:gd name="connsiteY1" fmla="*/ 23882 h 75176"/>
                    <a:gd name="connsiteX2" fmla="*/ 62907 w 105870"/>
                    <a:gd name="connsiteY2" fmla="*/ 71411 h 75176"/>
                    <a:gd name="connsiteX3" fmla="*/ 1280 w 105870"/>
                    <a:gd name="connsiteY3" fmla="*/ 51504 h 75176"/>
                    <a:gd name="connsiteX4" fmla="*/ 42333 w 105870"/>
                    <a:gd name="connsiteY4" fmla="*/ 4260 h 75176"/>
                    <a:gd name="connsiteX5" fmla="*/ 59192 w 105870"/>
                    <a:gd name="connsiteY5" fmla="*/ 57886 h 75176"/>
                    <a:gd name="connsiteX6" fmla="*/ 94053 w 105870"/>
                    <a:gd name="connsiteY6" fmla="*/ 26168 h 75176"/>
                    <a:gd name="connsiteX7" fmla="*/ 46714 w 105870"/>
                    <a:gd name="connsiteY7" fmla="*/ 17595 h 75176"/>
                    <a:gd name="connsiteX8" fmla="*/ 11853 w 105870"/>
                    <a:gd name="connsiteY8" fmla="*/ 49409 h 75176"/>
                    <a:gd name="connsiteX9" fmla="*/ 59192 w 105870"/>
                    <a:gd name="connsiteY9" fmla="*/ 57981 h 7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70" h="75176">
                      <a:moveTo>
                        <a:pt x="42333" y="4165"/>
                      </a:moveTo>
                      <a:cubicBezTo>
                        <a:pt x="76242" y="-5455"/>
                        <a:pt x="98530" y="1784"/>
                        <a:pt x="104721" y="23882"/>
                      </a:cubicBezTo>
                      <a:cubicBezTo>
                        <a:pt x="110246" y="43313"/>
                        <a:pt x="95768" y="61696"/>
                        <a:pt x="62907" y="71411"/>
                      </a:cubicBezTo>
                      <a:cubicBezTo>
                        <a:pt x="29474" y="80936"/>
                        <a:pt x="6995" y="71697"/>
                        <a:pt x="1280" y="51504"/>
                      </a:cubicBezTo>
                      <a:cubicBezTo>
                        <a:pt x="-4721" y="30454"/>
                        <a:pt x="10614" y="13214"/>
                        <a:pt x="42333" y="4260"/>
                      </a:cubicBezTo>
                      <a:close/>
                      <a:moveTo>
                        <a:pt x="59192" y="57886"/>
                      </a:moveTo>
                      <a:cubicBezTo>
                        <a:pt x="85100" y="50551"/>
                        <a:pt x="97578" y="38360"/>
                        <a:pt x="94053" y="26168"/>
                      </a:cubicBezTo>
                      <a:cubicBezTo>
                        <a:pt x="90148" y="12356"/>
                        <a:pt x="72146" y="10356"/>
                        <a:pt x="46714" y="17595"/>
                      </a:cubicBezTo>
                      <a:cubicBezTo>
                        <a:pt x="22235" y="24548"/>
                        <a:pt x="7852" y="35407"/>
                        <a:pt x="11853" y="49409"/>
                      </a:cubicBezTo>
                      <a:cubicBezTo>
                        <a:pt x="15186" y="61220"/>
                        <a:pt x="32046" y="65696"/>
                        <a:pt x="59192" y="5798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97" name="Freeform: Shape 96">
                  <a:extLst>
                    <a:ext uri="{FF2B5EF4-FFF2-40B4-BE49-F238E27FC236}">
                      <a16:creationId xmlns:a16="http://schemas.microsoft.com/office/drawing/2014/main" id="{EAD92EB2-CE20-6186-F1E7-D14C757394F4}"/>
                    </a:ext>
                  </a:extLst>
                </p:cNvPr>
                <p:cNvSpPr/>
                <p:nvPr/>
              </p:nvSpPr>
              <p:spPr>
                <a:xfrm>
                  <a:off x="4435125" y="3679507"/>
                  <a:ext cx="104203" cy="52196"/>
                </a:xfrm>
                <a:custGeom>
                  <a:avLst/>
                  <a:gdLst>
                    <a:gd name="connsiteX0" fmla="*/ 15526 w 104203"/>
                    <a:gd name="connsiteY0" fmla="*/ 31433 h 52196"/>
                    <a:gd name="connsiteX1" fmla="*/ 15526 w 104203"/>
                    <a:gd name="connsiteY1" fmla="*/ 31718 h 52196"/>
                    <a:gd name="connsiteX2" fmla="*/ 28670 w 104203"/>
                    <a:gd name="connsiteY2" fmla="*/ 47434 h 52196"/>
                    <a:gd name="connsiteX3" fmla="*/ 18764 w 104203"/>
                    <a:gd name="connsiteY3" fmla="*/ 52197 h 52196"/>
                    <a:gd name="connsiteX4" fmla="*/ 2381 w 104203"/>
                    <a:gd name="connsiteY4" fmla="*/ 32480 h 52196"/>
                    <a:gd name="connsiteX5" fmla="*/ 0 w 104203"/>
                    <a:gd name="connsiteY5" fmla="*/ 20764 h 52196"/>
                    <a:gd name="connsiteX6" fmla="*/ 101441 w 104203"/>
                    <a:gd name="connsiteY6" fmla="*/ 0 h 52196"/>
                    <a:gd name="connsiteX7" fmla="*/ 104203 w 104203"/>
                    <a:gd name="connsiteY7" fmla="*/ 13240 h 52196"/>
                    <a:gd name="connsiteX8" fmla="*/ 15526 w 104203"/>
                    <a:gd name="connsiteY8" fmla="*/ 31337 h 5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203" h="52196">
                      <a:moveTo>
                        <a:pt x="15526" y="31433"/>
                      </a:moveTo>
                      <a:lnTo>
                        <a:pt x="15526" y="31718"/>
                      </a:lnTo>
                      <a:cubicBezTo>
                        <a:pt x="15526" y="31718"/>
                        <a:pt x="28670" y="47434"/>
                        <a:pt x="28670" y="47434"/>
                      </a:cubicBezTo>
                      <a:lnTo>
                        <a:pt x="18764" y="52197"/>
                      </a:lnTo>
                      <a:lnTo>
                        <a:pt x="2381" y="32480"/>
                      </a:lnTo>
                      <a:lnTo>
                        <a:pt x="0" y="20764"/>
                      </a:lnTo>
                      <a:lnTo>
                        <a:pt x="101441" y="0"/>
                      </a:lnTo>
                      <a:lnTo>
                        <a:pt x="104203" y="13240"/>
                      </a:lnTo>
                      <a:lnTo>
                        <a:pt x="15526" y="3133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98" name="Freeform: Shape 97">
                  <a:extLst>
                    <a:ext uri="{FF2B5EF4-FFF2-40B4-BE49-F238E27FC236}">
                      <a16:creationId xmlns:a16="http://schemas.microsoft.com/office/drawing/2014/main" id="{00233645-0480-66F5-0C73-D9DB89F4F192}"/>
                    </a:ext>
                  </a:extLst>
                </p:cNvPr>
                <p:cNvSpPr/>
                <p:nvPr/>
              </p:nvSpPr>
              <p:spPr>
                <a:xfrm>
                  <a:off x="4418462" y="3540137"/>
                  <a:ext cx="107021" cy="71439"/>
                </a:xfrm>
                <a:custGeom>
                  <a:avLst/>
                  <a:gdLst>
                    <a:gd name="connsiteX0" fmla="*/ 48000 w 107021"/>
                    <a:gd name="connsiteY0" fmla="*/ 972 h 71439"/>
                    <a:gd name="connsiteX1" fmla="*/ 106769 w 107021"/>
                    <a:gd name="connsiteY1" fmla="*/ 29928 h 71439"/>
                    <a:gd name="connsiteX2" fmla="*/ 58192 w 107021"/>
                    <a:gd name="connsiteY2" fmla="*/ 70599 h 71439"/>
                    <a:gd name="connsiteX3" fmla="*/ 280 w 107021"/>
                    <a:gd name="connsiteY3" fmla="*/ 41548 h 71439"/>
                    <a:gd name="connsiteX4" fmla="*/ 48000 w 107021"/>
                    <a:gd name="connsiteY4" fmla="*/ 972 h 71439"/>
                    <a:gd name="connsiteX5" fmla="*/ 56573 w 107021"/>
                    <a:gd name="connsiteY5" fmla="*/ 56598 h 71439"/>
                    <a:gd name="connsiteX6" fmla="*/ 95911 w 107021"/>
                    <a:gd name="connsiteY6" fmla="*/ 30404 h 71439"/>
                    <a:gd name="connsiteX7" fmla="*/ 50381 w 107021"/>
                    <a:gd name="connsiteY7" fmla="*/ 14783 h 71439"/>
                    <a:gd name="connsiteX8" fmla="*/ 11138 w 107021"/>
                    <a:gd name="connsiteY8" fmla="*/ 40881 h 71439"/>
                    <a:gd name="connsiteX9" fmla="*/ 56668 w 107021"/>
                    <a:gd name="connsiteY9" fmla="*/ 56502 h 7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021" h="71439">
                      <a:moveTo>
                        <a:pt x="48000" y="972"/>
                      </a:moveTo>
                      <a:cubicBezTo>
                        <a:pt x="82957" y="-3410"/>
                        <a:pt x="103912" y="7163"/>
                        <a:pt x="106769" y="29928"/>
                      </a:cubicBezTo>
                      <a:cubicBezTo>
                        <a:pt x="109341" y="50025"/>
                        <a:pt x="92196" y="65932"/>
                        <a:pt x="58192" y="70599"/>
                      </a:cubicBezTo>
                      <a:cubicBezTo>
                        <a:pt x="23711" y="74886"/>
                        <a:pt x="2852" y="62408"/>
                        <a:pt x="280" y="41548"/>
                      </a:cubicBezTo>
                      <a:cubicBezTo>
                        <a:pt x="-2482" y="19926"/>
                        <a:pt x="15329" y="5163"/>
                        <a:pt x="48000" y="972"/>
                      </a:cubicBezTo>
                      <a:close/>
                      <a:moveTo>
                        <a:pt x="56573" y="56598"/>
                      </a:moveTo>
                      <a:cubicBezTo>
                        <a:pt x="83338" y="53264"/>
                        <a:pt x="97435" y="43072"/>
                        <a:pt x="95911" y="30404"/>
                      </a:cubicBezTo>
                      <a:cubicBezTo>
                        <a:pt x="94101" y="16212"/>
                        <a:pt x="76670" y="11449"/>
                        <a:pt x="50381" y="14783"/>
                      </a:cubicBezTo>
                      <a:cubicBezTo>
                        <a:pt x="25045" y="17926"/>
                        <a:pt x="9329" y="26499"/>
                        <a:pt x="11138" y="40881"/>
                      </a:cubicBezTo>
                      <a:cubicBezTo>
                        <a:pt x="12662" y="53073"/>
                        <a:pt x="28664" y="60027"/>
                        <a:pt x="56668" y="565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99" name="Freeform: Shape 98">
                  <a:extLst>
                    <a:ext uri="{FF2B5EF4-FFF2-40B4-BE49-F238E27FC236}">
                      <a16:creationId xmlns:a16="http://schemas.microsoft.com/office/drawing/2014/main" id="{2BAFDF76-4F26-0115-3815-4D16322C8460}"/>
                    </a:ext>
                  </a:extLst>
                </p:cNvPr>
                <p:cNvSpPr/>
                <p:nvPr/>
              </p:nvSpPr>
              <p:spPr>
                <a:xfrm>
                  <a:off x="4414919" y="3294844"/>
                  <a:ext cx="106990" cy="70355"/>
                </a:xfrm>
                <a:custGeom>
                  <a:avLst/>
                  <a:gdLst>
                    <a:gd name="connsiteX0" fmla="*/ 53257 w 106990"/>
                    <a:gd name="connsiteY0" fmla="*/ 43 h 70355"/>
                    <a:gd name="connsiteX1" fmla="*/ 106978 w 106990"/>
                    <a:gd name="connsiteY1" fmla="*/ 37477 h 70355"/>
                    <a:gd name="connsiteX2" fmla="*/ 52876 w 106990"/>
                    <a:gd name="connsiteY2" fmla="*/ 70338 h 70355"/>
                    <a:gd name="connsiteX3" fmla="*/ 13 w 106990"/>
                    <a:gd name="connsiteY3" fmla="*/ 32905 h 70355"/>
                    <a:gd name="connsiteX4" fmla="*/ 53353 w 106990"/>
                    <a:gd name="connsiteY4" fmla="*/ 43 h 70355"/>
                    <a:gd name="connsiteX5" fmla="*/ 53257 w 106990"/>
                    <a:gd name="connsiteY5" fmla="*/ 56336 h 70355"/>
                    <a:gd name="connsiteX6" fmla="*/ 96025 w 106990"/>
                    <a:gd name="connsiteY6" fmla="*/ 36429 h 70355"/>
                    <a:gd name="connsiteX7" fmla="*/ 53353 w 106990"/>
                    <a:gd name="connsiteY7" fmla="*/ 14045 h 70355"/>
                    <a:gd name="connsiteX8" fmla="*/ 10585 w 106990"/>
                    <a:gd name="connsiteY8" fmla="*/ 33952 h 70355"/>
                    <a:gd name="connsiteX9" fmla="*/ 53162 w 106990"/>
                    <a:gd name="connsiteY9" fmla="*/ 56336 h 7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990" h="70355">
                      <a:moveTo>
                        <a:pt x="53257" y="43"/>
                      </a:moveTo>
                      <a:cubicBezTo>
                        <a:pt x="88500" y="996"/>
                        <a:pt x="107550" y="14521"/>
                        <a:pt x="106978" y="37477"/>
                      </a:cubicBezTo>
                      <a:cubicBezTo>
                        <a:pt x="106407" y="57670"/>
                        <a:pt x="87071" y="70909"/>
                        <a:pt x="52876" y="70338"/>
                      </a:cubicBezTo>
                      <a:cubicBezTo>
                        <a:pt x="18110" y="69385"/>
                        <a:pt x="-559" y="53955"/>
                        <a:pt x="13" y="32905"/>
                      </a:cubicBezTo>
                      <a:cubicBezTo>
                        <a:pt x="584" y="11092"/>
                        <a:pt x="20396" y="-814"/>
                        <a:pt x="53353" y="43"/>
                      </a:cubicBezTo>
                      <a:close/>
                      <a:moveTo>
                        <a:pt x="53257" y="56336"/>
                      </a:moveTo>
                      <a:cubicBezTo>
                        <a:pt x="80213" y="57003"/>
                        <a:pt x="95739" y="49192"/>
                        <a:pt x="96025" y="36429"/>
                      </a:cubicBezTo>
                      <a:cubicBezTo>
                        <a:pt x="96406" y="22046"/>
                        <a:pt x="79832" y="14807"/>
                        <a:pt x="53353" y="14045"/>
                      </a:cubicBezTo>
                      <a:cubicBezTo>
                        <a:pt x="27826" y="13378"/>
                        <a:pt x="10966" y="19474"/>
                        <a:pt x="10585" y="33952"/>
                      </a:cubicBezTo>
                      <a:cubicBezTo>
                        <a:pt x="10204" y="46240"/>
                        <a:pt x="24968" y="55574"/>
                        <a:pt x="53162" y="563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00" name="Freeform: Shape 99">
                  <a:extLst>
                    <a:ext uri="{FF2B5EF4-FFF2-40B4-BE49-F238E27FC236}">
                      <a16:creationId xmlns:a16="http://schemas.microsoft.com/office/drawing/2014/main" id="{2D833792-27FE-5705-3604-4B3F696C9220}"/>
                    </a:ext>
                  </a:extLst>
                </p:cNvPr>
                <p:cNvSpPr/>
                <p:nvPr/>
              </p:nvSpPr>
              <p:spPr>
                <a:xfrm>
                  <a:off x="4429219" y="3190398"/>
                  <a:ext cx="104298" cy="35623"/>
                </a:xfrm>
                <a:custGeom>
                  <a:avLst/>
                  <a:gdLst>
                    <a:gd name="connsiteX0" fmla="*/ 12763 w 104298"/>
                    <a:gd name="connsiteY0" fmla="*/ 14764 h 35623"/>
                    <a:gd name="connsiteX1" fmla="*/ 12763 w 104298"/>
                    <a:gd name="connsiteY1" fmla="*/ 15050 h 35623"/>
                    <a:gd name="connsiteX2" fmla="*/ 20574 w 104298"/>
                    <a:gd name="connsiteY2" fmla="*/ 34004 h 35623"/>
                    <a:gd name="connsiteX3" fmla="*/ 9716 w 104298"/>
                    <a:gd name="connsiteY3" fmla="*/ 35624 h 35623"/>
                    <a:gd name="connsiteX4" fmla="*/ 0 w 104298"/>
                    <a:gd name="connsiteY4" fmla="*/ 11906 h 35623"/>
                    <a:gd name="connsiteX5" fmla="*/ 1238 w 104298"/>
                    <a:gd name="connsiteY5" fmla="*/ 0 h 35623"/>
                    <a:gd name="connsiteX6" fmla="*/ 104299 w 104298"/>
                    <a:gd name="connsiteY6" fmla="*/ 10668 h 35623"/>
                    <a:gd name="connsiteX7" fmla="*/ 102870 w 104298"/>
                    <a:gd name="connsiteY7" fmla="*/ 24098 h 35623"/>
                    <a:gd name="connsiteX8" fmla="*/ 12859 w 104298"/>
                    <a:gd name="connsiteY8" fmla="*/ 14764 h 3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298" h="35623">
                      <a:moveTo>
                        <a:pt x="12763" y="14764"/>
                      </a:moveTo>
                      <a:lnTo>
                        <a:pt x="12763" y="15050"/>
                      </a:lnTo>
                      <a:cubicBezTo>
                        <a:pt x="12763" y="15050"/>
                        <a:pt x="20574" y="34004"/>
                        <a:pt x="20574" y="34004"/>
                      </a:cubicBezTo>
                      <a:lnTo>
                        <a:pt x="9716" y="35624"/>
                      </a:lnTo>
                      <a:lnTo>
                        <a:pt x="0" y="11906"/>
                      </a:lnTo>
                      <a:lnTo>
                        <a:pt x="1238" y="0"/>
                      </a:lnTo>
                      <a:lnTo>
                        <a:pt x="104299" y="10668"/>
                      </a:lnTo>
                      <a:lnTo>
                        <a:pt x="102870" y="24098"/>
                      </a:lnTo>
                      <a:lnTo>
                        <a:pt x="12859" y="1476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02" name="Freeform: Shape 101">
                  <a:extLst>
                    <a:ext uri="{FF2B5EF4-FFF2-40B4-BE49-F238E27FC236}">
                      <a16:creationId xmlns:a16="http://schemas.microsoft.com/office/drawing/2014/main" id="{7A9212CA-8785-333C-31C2-6810581C7ED5}"/>
                    </a:ext>
                  </a:extLst>
                </p:cNvPr>
                <p:cNvSpPr/>
                <p:nvPr/>
              </p:nvSpPr>
              <p:spPr>
                <a:xfrm>
                  <a:off x="4449912" y="3045999"/>
                  <a:ext cx="106145" cy="72922"/>
                </a:xfrm>
                <a:custGeom>
                  <a:avLst/>
                  <a:gdLst>
                    <a:gd name="connsiteX0" fmla="*/ 58270 w 106145"/>
                    <a:gd name="connsiteY0" fmla="*/ 1905 h 72922"/>
                    <a:gd name="connsiteX1" fmla="*/ 105514 w 106145"/>
                    <a:gd name="connsiteY1" fmla="*/ 47148 h 72922"/>
                    <a:gd name="connsiteX2" fmla="*/ 47030 w 106145"/>
                    <a:gd name="connsiteY2" fmla="*/ 71247 h 72922"/>
                    <a:gd name="connsiteX3" fmla="*/ 548 w 106145"/>
                    <a:gd name="connsiteY3" fmla="*/ 26098 h 72922"/>
                    <a:gd name="connsiteX4" fmla="*/ 58270 w 106145"/>
                    <a:gd name="connsiteY4" fmla="*/ 1809 h 72922"/>
                    <a:gd name="connsiteX5" fmla="*/ 49697 w 106145"/>
                    <a:gd name="connsiteY5" fmla="*/ 57531 h 72922"/>
                    <a:gd name="connsiteX6" fmla="*/ 95036 w 106145"/>
                    <a:gd name="connsiteY6" fmla="*/ 44481 h 72922"/>
                    <a:gd name="connsiteX7" fmla="*/ 56365 w 106145"/>
                    <a:gd name="connsiteY7" fmla="*/ 15811 h 72922"/>
                    <a:gd name="connsiteX8" fmla="*/ 11026 w 106145"/>
                    <a:gd name="connsiteY8" fmla="*/ 28860 h 72922"/>
                    <a:gd name="connsiteX9" fmla="*/ 49697 w 106145"/>
                    <a:gd name="connsiteY9" fmla="*/ 57531 h 7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145" h="72922">
                      <a:moveTo>
                        <a:pt x="58270" y="1905"/>
                      </a:moveTo>
                      <a:cubicBezTo>
                        <a:pt x="92941" y="8286"/>
                        <a:pt x="109705" y="24574"/>
                        <a:pt x="105514" y="47148"/>
                      </a:cubicBezTo>
                      <a:cubicBezTo>
                        <a:pt x="101894" y="67056"/>
                        <a:pt x="80749" y="77152"/>
                        <a:pt x="47030" y="71247"/>
                      </a:cubicBezTo>
                      <a:cubicBezTo>
                        <a:pt x="12836" y="64960"/>
                        <a:pt x="-3262" y="46767"/>
                        <a:pt x="548" y="26098"/>
                      </a:cubicBezTo>
                      <a:cubicBezTo>
                        <a:pt x="4454" y="4572"/>
                        <a:pt x="25885" y="-4096"/>
                        <a:pt x="58270" y="1809"/>
                      </a:cubicBezTo>
                      <a:close/>
                      <a:moveTo>
                        <a:pt x="49697" y="57531"/>
                      </a:moveTo>
                      <a:cubicBezTo>
                        <a:pt x="76177" y="62388"/>
                        <a:pt x="92750" y="56959"/>
                        <a:pt x="95036" y="44481"/>
                      </a:cubicBezTo>
                      <a:cubicBezTo>
                        <a:pt x="97608" y="30384"/>
                        <a:pt x="82368" y="20574"/>
                        <a:pt x="56365" y="15811"/>
                      </a:cubicBezTo>
                      <a:cubicBezTo>
                        <a:pt x="31314" y="11239"/>
                        <a:pt x="13598" y="14668"/>
                        <a:pt x="11026" y="28860"/>
                      </a:cubicBezTo>
                      <a:cubicBezTo>
                        <a:pt x="8835" y="40957"/>
                        <a:pt x="21980" y="52387"/>
                        <a:pt x="49697" y="575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03" name="Freeform: Shape 102">
                  <a:extLst>
                    <a:ext uri="{FF2B5EF4-FFF2-40B4-BE49-F238E27FC236}">
                      <a16:creationId xmlns:a16="http://schemas.microsoft.com/office/drawing/2014/main" id="{999819A2-872C-D1E5-3501-E7594CE6480B}"/>
                    </a:ext>
                  </a:extLst>
                </p:cNvPr>
                <p:cNvSpPr/>
                <p:nvPr/>
              </p:nvSpPr>
              <p:spPr>
                <a:xfrm>
                  <a:off x="4483988" y="2938557"/>
                  <a:ext cx="103155" cy="39528"/>
                </a:xfrm>
                <a:custGeom>
                  <a:avLst/>
                  <a:gdLst>
                    <a:gd name="connsiteX0" fmla="*/ 12192 w 103155"/>
                    <a:gd name="connsiteY0" fmla="*/ 16383 h 39528"/>
                    <a:gd name="connsiteX1" fmla="*/ 12192 w 103155"/>
                    <a:gd name="connsiteY1" fmla="*/ 16669 h 39528"/>
                    <a:gd name="connsiteX2" fmla="*/ 16954 w 103155"/>
                    <a:gd name="connsiteY2" fmla="*/ 36576 h 39528"/>
                    <a:gd name="connsiteX3" fmla="*/ 5905 w 103155"/>
                    <a:gd name="connsiteY3" fmla="*/ 36576 h 39528"/>
                    <a:gd name="connsiteX4" fmla="*/ 0 w 103155"/>
                    <a:gd name="connsiteY4" fmla="*/ 11525 h 39528"/>
                    <a:gd name="connsiteX5" fmla="*/ 3048 w 103155"/>
                    <a:gd name="connsiteY5" fmla="*/ 0 h 39528"/>
                    <a:gd name="connsiteX6" fmla="*/ 103156 w 103155"/>
                    <a:gd name="connsiteY6" fmla="*/ 26479 h 39528"/>
                    <a:gd name="connsiteX7" fmla="*/ 99727 w 103155"/>
                    <a:gd name="connsiteY7" fmla="*/ 39529 h 39528"/>
                    <a:gd name="connsiteX8" fmla="*/ 12192 w 103155"/>
                    <a:gd name="connsiteY8" fmla="*/ 16383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155" h="39528">
                      <a:moveTo>
                        <a:pt x="12192" y="16383"/>
                      </a:moveTo>
                      <a:lnTo>
                        <a:pt x="12192" y="16669"/>
                      </a:lnTo>
                      <a:cubicBezTo>
                        <a:pt x="12192" y="16669"/>
                        <a:pt x="16954" y="36576"/>
                        <a:pt x="16954" y="36576"/>
                      </a:cubicBezTo>
                      <a:lnTo>
                        <a:pt x="5905" y="36576"/>
                      </a:lnTo>
                      <a:cubicBezTo>
                        <a:pt x="5905" y="36576"/>
                        <a:pt x="0" y="11525"/>
                        <a:pt x="0" y="11525"/>
                      </a:cubicBezTo>
                      <a:lnTo>
                        <a:pt x="3048" y="0"/>
                      </a:lnTo>
                      <a:lnTo>
                        <a:pt x="103156" y="26479"/>
                      </a:lnTo>
                      <a:lnTo>
                        <a:pt x="99727" y="39529"/>
                      </a:lnTo>
                      <a:lnTo>
                        <a:pt x="12192" y="1638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04" name="Freeform: Shape 103">
                  <a:extLst>
                    <a:ext uri="{FF2B5EF4-FFF2-40B4-BE49-F238E27FC236}">
                      <a16:creationId xmlns:a16="http://schemas.microsoft.com/office/drawing/2014/main" id="{601D891E-505D-B450-145F-FEB7E8D70CFB}"/>
                    </a:ext>
                  </a:extLst>
                </p:cNvPr>
                <p:cNvSpPr/>
                <p:nvPr/>
              </p:nvSpPr>
              <p:spPr>
                <a:xfrm>
                  <a:off x="4525708" y="2816732"/>
                  <a:ext cx="101726" cy="46862"/>
                </a:xfrm>
                <a:custGeom>
                  <a:avLst/>
                  <a:gdLst>
                    <a:gd name="connsiteX0" fmla="*/ 11811 w 101726"/>
                    <a:gd name="connsiteY0" fmla="*/ 17050 h 46862"/>
                    <a:gd name="connsiteX1" fmla="*/ 11811 w 101726"/>
                    <a:gd name="connsiteY1" fmla="*/ 17335 h 46862"/>
                    <a:gd name="connsiteX2" fmla="*/ 14954 w 101726"/>
                    <a:gd name="connsiteY2" fmla="*/ 37529 h 46862"/>
                    <a:gd name="connsiteX3" fmla="*/ 4001 w 101726"/>
                    <a:gd name="connsiteY3" fmla="*/ 36576 h 46862"/>
                    <a:gd name="connsiteX4" fmla="*/ 0 w 101726"/>
                    <a:gd name="connsiteY4" fmla="*/ 11240 h 46862"/>
                    <a:gd name="connsiteX5" fmla="*/ 3905 w 101726"/>
                    <a:gd name="connsiteY5" fmla="*/ 0 h 46862"/>
                    <a:gd name="connsiteX6" fmla="*/ 101727 w 101726"/>
                    <a:gd name="connsiteY6" fmla="*/ 34100 h 46862"/>
                    <a:gd name="connsiteX7" fmla="*/ 97250 w 101726"/>
                    <a:gd name="connsiteY7" fmla="*/ 46863 h 46862"/>
                    <a:gd name="connsiteX8" fmla="*/ 11811 w 101726"/>
                    <a:gd name="connsiteY8" fmla="*/ 17050 h 46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726" h="46862">
                      <a:moveTo>
                        <a:pt x="11811" y="17050"/>
                      </a:moveTo>
                      <a:lnTo>
                        <a:pt x="11811" y="17335"/>
                      </a:lnTo>
                      <a:cubicBezTo>
                        <a:pt x="11811" y="17335"/>
                        <a:pt x="14954" y="37529"/>
                        <a:pt x="14954" y="37529"/>
                      </a:cubicBezTo>
                      <a:lnTo>
                        <a:pt x="4001" y="36576"/>
                      </a:lnTo>
                      <a:lnTo>
                        <a:pt x="0" y="11240"/>
                      </a:lnTo>
                      <a:lnTo>
                        <a:pt x="3905" y="0"/>
                      </a:lnTo>
                      <a:lnTo>
                        <a:pt x="101727" y="34100"/>
                      </a:lnTo>
                      <a:lnTo>
                        <a:pt x="97250" y="46863"/>
                      </a:lnTo>
                      <a:lnTo>
                        <a:pt x="11811" y="170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05" name="Freeform: Shape 104">
                  <a:extLst>
                    <a:ext uri="{FF2B5EF4-FFF2-40B4-BE49-F238E27FC236}">
                      <a16:creationId xmlns:a16="http://schemas.microsoft.com/office/drawing/2014/main" id="{60949495-FB7F-3E53-D605-C71601DB06B1}"/>
                    </a:ext>
                  </a:extLst>
                </p:cNvPr>
                <p:cNvSpPr/>
                <p:nvPr/>
              </p:nvSpPr>
              <p:spPr>
                <a:xfrm>
                  <a:off x="4630363" y="2579728"/>
                  <a:ext cx="101555" cy="83103"/>
                </a:xfrm>
                <a:custGeom>
                  <a:avLst/>
                  <a:gdLst>
                    <a:gd name="connsiteX0" fmla="*/ 66033 w 101555"/>
                    <a:gd name="connsiteY0" fmla="*/ 10214 h 83103"/>
                    <a:gd name="connsiteX1" fmla="*/ 97560 w 101555"/>
                    <a:gd name="connsiteY1" fmla="*/ 67554 h 83103"/>
                    <a:gd name="connsiteX2" fmla="*/ 34505 w 101555"/>
                    <a:gd name="connsiteY2" fmla="*/ 73079 h 83103"/>
                    <a:gd name="connsiteX3" fmla="*/ 3644 w 101555"/>
                    <a:gd name="connsiteY3" fmla="*/ 16119 h 83103"/>
                    <a:gd name="connsiteX4" fmla="*/ 66033 w 101555"/>
                    <a:gd name="connsiteY4" fmla="*/ 10214 h 83103"/>
                    <a:gd name="connsiteX5" fmla="*/ 41172 w 101555"/>
                    <a:gd name="connsiteY5" fmla="*/ 60696 h 83103"/>
                    <a:gd name="connsiteX6" fmla="*/ 88321 w 101555"/>
                    <a:gd name="connsiteY6" fmla="*/ 61839 h 83103"/>
                    <a:gd name="connsiteX7" fmla="*/ 60032 w 101555"/>
                    <a:gd name="connsiteY7" fmla="*/ 22977 h 83103"/>
                    <a:gd name="connsiteX8" fmla="*/ 12883 w 101555"/>
                    <a:gd name="connsiteY8" fmla="*/ 21834 h 83103"/>
                    <a:gd name="connsiteX9" fmla="*/ 41172 w 101555"/>
                    <a:gd name="connsiteY9" fmla="*/ 60696 h 8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555" h="83103">
                      <a:moveTo>
                        <a:pt x="66033" y="10214"/>
                      </a:moveTo>
                      <a:cubicBezTo>
                        <a:pt x="97179" y="26692"/>
                        <a:pt x="108324" y="47266"/>
                        <a:pt x="97560" y="67554"/>
                      </a:cubicBezTo>
                      <a:cubicBezTo>
                        <a:pt x="88131" y="85461"/>
                        <a:pt x="64985" y="88700"/>
                        <a:pt x="34505" y="73079"/>
                      </a:cubicBezTo>
                      <a:cubicBezTo>
                        <a:pt x="3739" y="56886"/>
                        <a:pt x="-6167" y="34693"/>
                        <a:pt x="3644" y="16119"/>
                      </a:cubicBezTo>
                      <a:cubicBezTo>
                        <a:pt x="13836" y="-3216"/>
                        <a:pt x="36791" y="-5121"/>
                        <a:pt x="66033" y="10214"/>
                      </a:cubicBezTo>
                      <a:close/>
                      <a:moveTo>
                        <a:pt x="41172" y="60696"/>
                      </a:moveTo>
                      <a:cubicBezTo>
                        <a:pt x="64985" y="73269"/>
                        <a:pt x="82416" y="73079"/>
                        <a:pt x="88321" y="61839"/>
                      </a:cubicBezTo>
                      <a:cubicBezTo>
                        <a:pt x="94989" y="49171"/>
                        <a:pt x="83368" y="35265"/>
                        <a:pt x="60032" y="22977"/>
                      </a:cubicBezTo>
                      <a:cubicBezTo>
                        <a:pt x="37458" y="11071"/>
                        <a:pt x="19646" y="9071"/>
                        <a:pt x="12883" y="21834"/>
                      </a:cubicBezTo>
                      <a:cubicBezTo>
                        <a:pt x="7168" y="32693"/>
                        <a:pt x="16217" y="47552"/>
                        <a:pt x="41172" y="6069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06" name="Freeform: Shape 105">
                  <a:extLst>
                    <a:ext uri="{FF2B5EF4-FFF2-40B4-BE49-F238E27FC236}">
                      <a16:creationId xmlns:a16="http://schemas.microsoft.com/office/drawing/2014/main" id="{D24FB0EA-2D48-7534-8A56-B0378740119C}"/>
                    </a:ext>
                  </a:extLst>
                </p:cNvPr>
                <p:cNvSpPr/>
                <p:nvPr/>
              </p:nvSpPr>
              <p:spPr>
                <a:xfrm>
                  <a:off x="4700682" y="2479261"/>
                  <a:ext cx="95821" cy="66579"/>
                </a:xfrm>
                <a:custGeom>
                  <a:avLst/>
                  <a:gdLst>
                    <a:gd name="connsiteX0" fmla="*/ 12002 w 95821"/>
                    <a:gd name="connsiteY0" fmla="*/ 18479 h 66579"/>
                    <a:gd name="connsiteX1" fmla="*/ 11811 w 95821"/>
                    <a:gd name="connsiteY1" fmla="*/ 18764 h 66579"/>
                    <a:gd name="connsiteX2" fmla="*/ 10478 w 95821"/>
                    <a:gd name="connsiteY2" fmla="*/ 39148 h 66579"/>
                    <a:gd name="connsiteX3" fmla="*/ 0 w 95821"/>
                    <a:gd name="connsiteY3" fmla="*/ 35719 h 66579"/>
                    <a:gd name="connsiteX4" fmla="*/ 1810 w 95821"/>
                    <a:gd name="connsiteY4" fmla="*/ 10096 h 66579"/>
                    <a:gd name="connsiteX5" fmla="*/ 8192 w 95821"/>
                    <a:gd name="connsiteY5" fmla="*/ 0 h 66579"/>
                    <a:gd name="connsiteX6" fmla="*/ 95821 w 95821"/>
                    <a:gd name="connsiteY6" fmla="*/ 55150 h 66579"/>
                    <a:gd name="connsiteX7" fmla="*/ 88583 w 95821"/>
                    <a:gd name="connsiteY7" fmla="*/ 66580 h 66579"/>
                    <a:gd name="connsiteX8" fmla="*/ 12002 w 95821"/>
                    <a:gd name="connsiteY8" fmla="*/ 18383 h 6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821" h="66579">
                      <a:moveTo>
                        <a:pt x="12002" y="18479"/>
                      </a:moveTo>
                      <a:lnTo>
                        <a:pt x="11811" y="18764"/>
                      </a:lnTo>
                      <a:lnTo>
                        <a:pt x="10478" y="39148"/>
                      </a:lnTo>
                      <a:lnTo>
                        <a:pt x="0" y="35719"/>
                      </a:lnTo>
                      <a:lnTo>
                        <a:pt x="1810" y="10096"/>
                      </a:lnTo>
                      <a:lnTo>
                        <a:pt x="8192" y="0"/>
                      </a:lnTo>
                      <a:lnTo>
                        <a:pt x="95821" y="55150"/>
                      </a:lnTo>
                      <a:lnTo>
                        <a:pt x="88583" y="66580"/>
                      </a:lnTo>
                      <a:lnTo>
                        <a:pt x="12002" y="1838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07" name="Freeform: Shape 106">
                  <a:extLst>
                    <a:ext uri="{FF2B5EF4-FFF2-40B4-BE49-F238E27FC236}">
                      <a16:creationId xmlns:a16="http://schemas.microsoft.com/office/drawing/2014/main" id="{CB5DDAB9-E538-3D1F-85D6-950CA91F7B18}"/>
                    </a:ext>
                  </a:extLst>
                </p:cNvPr>
                <p:cNvSpPr/>
                <p:nvPr/>
              </p:nvSpPr>
              <p:spPr>
                <a:xfrm>
                  <a:off x="4772646" y="2370214"/>
                  <a:ext cx="97627" cy="89060"/>
                </a:xfrm>
                <a:custGeom>
                  <a:avLst/>
                  <a:gdLst>
                    <a:gd name="connsiteX0" fmla="*/ 68625 w 97627"/>
                    <a:gd name="connsiteY0" fmla="*/ 15892 h 89060"/>
                    <a:gd name="connsiteX1" fmla="*/ 91104 w 97627"/>
                    <a:gd name="connsiteY1" fmla="*/ 77424 h 89060"/>
                    <a:gd name="connsiteX2" fmla="*/ 27953 w 97627"/>
                    <a:gd name="connsiteY2" fmla="*/ 73233 h 89060"/>
                    <a:gd name="connsiteX3" fmla="*/ 6141 w 97627"/>
                    <a:gd name="connsiteY3" fmla="*/ 12178 h 89060"/>
                    <a:gd name="connsiteX4" fmla="*/ 68625 w 97627"/>
                    <a:gd name="connsiteY4" fmla="*/ 15892 h 89060"/>
                    <a:gd name="connsiteX5" fmla="*/ 36430 w 97627"/>
                    <a:gd name="connsiteY5" fmla="*/ 62089 h 89060"/>
                    <a:gd name="connsiteX6" fmla="*/ 82912 w 97627"/>
                    <a:gd name="connsiteY6" fmla="*/ 70375 h 89060"/>
                    <a:gd name="connsiteX7" fmla="*/ 60814 w 97627"/>
                    <a:gd name="connsiteY7" fmla="*/ 27608 h 89060"/>
                    <a:gd name="connsiteX8" fmla="*/ 14332 w 97627"/>
                    <a:gd name="connsiteY8" fmla="*/ 19321 h 89060"/>
                    <a:gd name="connsiteX9" fmla="*/ 36430 w 97627"/>
                    <a:gd name="connsiteY9" fmla="*/ 62089 h 8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627" h="89060">
                      <a:moveTo>
                        <a:pt x="68625" y="15892"/>
                      </a:moveTo>
                      <a:cubicBezTo>
                        <a:pt x="96914" y="36847"/>
                        <a:pt x="104724" y="58945"/>
                        <a:pt x="91104" y="77424"/>
                      </a:cubicBezTo>
                      <a:cubicBezTo>
                        <a:pt x="79102" y="93712"/>
                        <a:pt x="55671" y="93426"/>
                        <a:pt x="27953" y="73233"/>
                      </a:cubicBezTo>
                      <a:cubicBezTo>
                        <a:pt x="45" y="52564"/>
                        <a:pt x="-6432" y="29132"/>
                        <a:pt x="6141" y="12178"/>
                      </a:cubicBezTo>
                      <a:cubicBezTo>
                        <a:pt x="19190" y="-5348"/>
                        <a:pt x="42145" y="-3824"/>
                        <a:pt x="68625" y="15892"/>
                      </a:cubicBezTo>
                      <a:close/>
                      <a:moveTo>
                        <a:pt x="36430" y="62089"/>
                      </a:moveTo>
                      <a:cubicBezTo>
                        <a:pt x="58052" y="78091"/>
                        <a:pt x="75292" y="80567"/>
                        <a:pt x="82912" y="70375"/>
                      </a:cubicBezTo>
                      <a:cubicBezTo>
                        <a:pt x="91485" y="58850"/>
                        <a:pt x="82055" y="43420"/>
                        <a:pt x="60814" y="27608"/>
                      </a:cubicBezTo>
                      <a:cubicBezTo>
                        <a:pt x="40335" y="12463"/>
                        <a:pt x="23000" y="7701"/>
                        <a:pt x="14332" y="19321"/>
                      </a:cubicBezTo>
                      <a:cubicBezTo>
                        <a:pt x="6998" y="29132"/>
                        <a:pt x="13761" y="45229"/>
                        <a:pt x="36430" y="6208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08" name="Freeform: Shape 107">
                  <a:extLst>
                    <a:ext uri="{FF2B5EF4-FFF2-40B4-BE49-F238E27FC236}">
                      <a16:creationId xmlns:a16="http://schemas.microsoft.com/office/drawing/2014/main" id="{AA9E2CE1-34EB-750D-4EB2-DCB1E60190B5}"/>
                    </a:ext>
                  </a:extLst>
                </p:cNvPr>
                <p:cNvSpPr/>
                <p:nvPr/>
              </p:nvSpPr>
              <p:spPr>
                <a:xfrm>
                  <a:off x="4856987" y="2278474"/>
                  <a:ext cx="91821" cy="78009"/>
                </a:xfrm>
                <a:custGeom>
                  <a:avLst/>
                  <a:gdLst>
                    <a:gd name="connsiteX0" fmla="*/ 14478 w 91821"/>
                    <a:gd name="connsiteY0" fmla="*/ 18764 h 78009"/>
                    <a:gd name="connsiteX1" fmla="*/ 14288 w 91821"/>
                    <a:gd name="connsiteY1" fmla="*/ 19050 h 78009"/>
                    <a:gd name="connsiteX2" fmla="*/ 9811 w 91821"/>
                    <a:gd name="connsiteY2" fmla="*/ 39053 h 78009"/>
                    <a:gd name="connsiteX3" fmla="*/ 0 w 91821"/>
                    <a:gd name="connsiteY3" fmla="*/ 34100 h 78009"/>
                    <a:gd name="connsiteX4" fmla="*/ 5715 w 91821"/>
                    <a:gd name="connsiteY4" fmla="*/ 9049 h 78009"/>
                    <a:gd name="connsiteX5" fmla="*/ 13526 w 91821"/>
                    <a:gd name="connsiteY5" fmla="*/ 0 h 78009"/>
                    <a:gd name="connsiteX6" fmla="*/ 91821 w 91821"/>
                    <a:gd name="connsiteY6" fmla="*/ 67818 h 78009"/>
                    <a:gd name="connsiteX7" fmla="*/ 82963 w 91821"/>
                    <a:gd name="connsiteY7" fmla="*/ 78010 h 78009"/>
                    <a:gd name="connsiteX8" fmla="*/ 14573 w 91821"/>
                    <a:gd name="connsiteY8" fmla="*/ 18764 h 7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821" h="78009">
                      <a:moveTo>
                        <a:pt x="14478" y="18764"/>
                      </a:moveTo>
                      <a:lnTo>
                        <a:pt x="14288" y="19050"/>
                      </a:lnTo>
                      <a:lnTo>
                        <a:pt x="9811" y="39053"/>
                      </a:lnTo>
                      <a:lnTo>
                        <a:pt x="0" y="34100"/>
                      </a:lnTo>
                      <a:lnTo>
                        <a:pt x="5715" y="9049"/>
                      </a:lnTo>
                      <a:lnTo>
                        <a:pt x="13526" y="0"/>
                      </a:lnTo>
                      <a:lnTo>
                        <a:pt x="91821" y="67818"/>
                      </a:lnTo>
                      <a:lnTo>
                        <a:pt x="82963" y="78010"/>
                      </a:lnTo>
                      <a:lnTo>
                        <a:pt x="14573" y="1876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09" name="Freeform: Shape 108">
                  <a:extLst>
                    <a:ext uri="{FF2B5EF4-FFF2-40B4-BE49-F238E27FC236}">
                      <a16:creationId xmlns:a16="http://schemas.microsoft.com/office/drawing/2014/main" id="{0176EB66-6CB4-4C87-DD2E-A47966E5639F}"/>
                    </a:ext>
                  </a:extLst>
                </p:cNvPr>
                <p:cNvSpPr/>
                <p:nvPr/>
              </p:nvSpPr>
              <p:spPr>
                <a:xfrm>
                  <a:off x="4945460" y="2184463"/>
                  <a:ext cx="92811" cy="94361"/>
                </a:xfrm>
                <a:custGeom>
                  <a:avLst/>
                  <a:gdLst>
                    <a:gd name="connsiteX0" fmla="*/ 70309 w 92811"/>
                    <a:gd name="connsiteY0" fmla="*/ 21907 h 94361"/>
                    <a:gd name="connsiteX1" fmla="*/ 83167 w 92811"/>
                    <a:gd name="connsiteY1" fmla="*/ 86105 h 94361"/>
                    <a:gd name="connsiteX2" fmla="*/ 21445 w 92811"/>
                    <a:gd name="connsiteY2" fmla="*/ 72389 h 94361"/>
                    <a:gd name="connsiteX3" fmla="*/ 9158 w 92811"/>
                    <a:gd name="connsiteY3" fmla="*/ 8762 h 94361"/>
                    <a:gd name="connsiteX4" fmla="*/ 70404 w 92811"/>
                    <a:gd name="connsiteY4" fmla="*/ 21907 h 94361"/>
                    <a:gd name="connsiteX5" fmla="*/ 31447 w 92811"/>
                    <a:gd name="connsiteY5" fmla="*/ 62579 h 94361"/>
                    <a:gd name="connsiteX6" fmla="*/ 76119 w 92811"/>
                    <a:gd name="connsiteY6" fmla="*/ 77819 h 94361"/>
                    <a:gd name="connsiteX7" fmla="*/ 60784 w 92811"/>
                    <a:gd name="connsiteY7" fmla="*/ 32194 h 94361"/>
                    <a:gd name="connsiteX8" fmla="*/ 16111 w 92811"/>
                    <a:gd name="connsiteY8" fmla="*/ 16954 h 94361"/>
                    <a:gd name="connsiteX9" fmla="*/ 31351 w 92811"/>
                    <a:gd name="connsiteY9" fmla="*/ 62579 h 9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11" h="94361">
                      <a:moveTo>
                        <a:pt x="70309" y="21907"/>
                      </a:moveTo>
                      <a:cubicBezTo>
                        <a:pt x="95074" y="46958"/>
                        <a:pt x="99455" y="69913"/>
                        <a:pt x="83167" y="86105"/>
                      </a:cubicBezTo>
                      <a:cubicBezTo>
                        <a:pt x="68785" y="100298"/>
                        <a:pt x="45734" y="96488"/>
                        <a:pt x="21445" y="72389"/>
                      </a:cubicBezTo>
                      <a:cubicBezTo>
                        <a:pt x="-2939" y="47720"/>
                        <a:pt x="-5796" y="23621"/>
                        <a:pt x="9158" y="8762"/>
                      </a:cubicBezTo>
                      <a:cubicBezTo>
                        <a:pt x="24684" y="-6573"/>
                        <a:pt x="47163" y="-1525"/>
                        <a:pt x="70404" y="21907"/>
                      </a:cubicBezTo>
                      <a:close/>
                      <a:moveTo>
                        <a:pt x="31447" y="62579"/>
                      </a:moveTo>
                      <a:cubicBezTo>
                        <a:pt x="50401" y="81724"/>
                        <a:pt x="66975" y="86772"/>
                        <a:pt x="76119" y="77819"/>
                      </a:cubicBezTo>
                      <a:cubicBezTo>
                        <a:pt x="86311" y="67722"/>
                        <a:pt x="79453" y="51053"/>
                        <a:pt x="60784" y="32194"/>
                      </a:cubicBezTo>
                      <a:cubicBezTo>
                        <a:pt x="42877" y="14096"/>
                        <a:pt x="26494" y="6762"/>
                        <a:pt x="16111" y="16954"/>
                      </a:cubicBezTo>
                      <a:cubicBezTo>
                        <a:pt x="7348" y="25622"/>
                        <a:pt x="11539" y="42481"/>
                        <a:pt x="31351" y="6257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16" name="Freeform: Shape 115">
                  <a:extLst>
                    <a:ext uri="{FF2B5EF4-FFF2-40B4-BE49-F238E27FC236}">
                      <a16:creationId xmlns:a16="http://schemas.microsoft.com/office/drawing/2014/main" id="{ABE803F6-43CD-50F2-709E-5C6453B4A9B3}"/>
                    </a:ext>
                  </a:extLst>
                </p:cNvPr>
                <p:cNvSpPr/>
                <p:nvPr/>
              </p:nvSpPr>
              <p:spPr>
                <a:xfrm>
                  <a:off x="5042439" y="2104548"/>
                  <a:ext cx="85534" cy="87725"/>
                </a:xfrm>
                <a:custGeom>
                  <a:avLst/>
                  <a:gdLst>
                    <a:gd name="connsiteX0" fmla="*/ 16669 w 85534"/>
                    <a:gd name="connsiteY0" fmla="*/ 18764 h 87725"/>
                    <a:gd name="connsiteX1" fmla="*/ 16383 w 85534"/>
                    <a:gd name="connsiteY1" fmla="*/ 18955 h 87725"/>
                    <a:gd name="connsiteX2" fmla="*/ 8954 w 85534"/>
                    <a:gd name="connsiteY2" fmla="*/ 38005 h 87725"/>
                    <a:gd name="connsiteX3" fmla="*/ 0 w 85534"/>
                    <a:gd name="connsiteY3" fmla="*/ 31623 h 87725"/>
                    <a:gd name="connsiteX4" fmla="*/ 9430 w 85534"/>
                    <a:gd name="connsiteY4" fmla="*/ 7715 h 87725"/>
                    <a:gd name="connsiteX5" fmla="*/ 18574 w 85534"/>
                    <a:gd name="connsiteY5" fmla="*/ 0 h 87725"/>
                    <a:gd name="connsiteX6" fmla="*/ 85535 w 85534"/>
                    <a:gd name="connsiteY6" fmla="*/ 78962 h 87725"/>
                    <a:gd name="connsiteX7" fmla="*/ 75248 w 85534"/>
                    <a:gd name="connsiteY7" fmla="*/ 87725 h 87725"/>
                    <a:gd name="connsiteX8" fmla="*/ 16669 w 85534"/>
                    <a:gd name="connsiteY8" fmla="*/ 18669 h 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4" h="87725">
                      <a:moveTo>
                        <a:pt x="16669" y="18764"/>
                      </a:moveTo>
                      <a:lnTo>
                        <a:pt x="16383" y="18955"/>
                      </a:lnTo>
                      <a:lnTo>
                        <a:pt x="8954" y="38005"/>
                      </a:lnTo>
                      <a:lnTo>
                        <a:pt x="0" y="31623"/>
                      </a:lnTo>
                      <a:lnTo>
                        <a:pt x="9430" y="7715"/>
                      </a:lnTo>
                      <a:lnTo>
                        <a:pt x="18574" y="0"/>
                      </a:lnTo>
                      <a:lnTo>
                        <a:pt x="85535" y="78962"/>
                      </a:lnTo>
                      <a:lnTo>
                        <a:pt x="75248" y="87725"/>
                      </a:lnTo>
                      <a:lnTo>
                        <a:pt x="16669" y="186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19" name="Freeform: Shape 118">
                  <a:extLst>
                    <a:ext uri="{FF2B5EF4-FFF2-40B4-BE49-F238E27FC236}">
                      <a16:creationId xmlns:a16="http://schemas.microsoft.com/office/drawing/2014/main" id="{E65698CB-5421-26EA-FD4D-5DE62C9D5EBC}"/>
                    </a:ext>
                  </a:extLst>
                </p:cNvPr>
                <p:cNvSpPr/>
                <p:nvPr/>
              </p:nvSpPr>
              <p:spPr>
                <a:xfrm>
                  <a:off x="5144268" y="2027368"/>
                  <a:ext cx="87511" cy="99134"/>
                </a:xfrm>
                <a:custGeom>
                  <a:avLst/>
                  <a:gdLst>
                    <a:gd name="connsiteX0" fmla="*/ 71335 w 87511"/>
                    <a:gd name="connsiteY0" fmla="*/ 28221 h 99134"/>
                    <a:gd name="connsiteX1" fmla="*/ 74193 w 87511"/>
                    <a:gd name="connsiteY1" fmla="*/ 93658 h 99134"/>
                    <a:gd name="connsiteX2" fmla="*/ 15233 w 87511"/>
                    <a:gd name="connsiteY2" fmla="*/ 70608 h 99134"/>
                    <a:gd name="connsiteX3" fmla="*/ 12852 w 87511"/>
                    <a:gd name="connsiteY3" fmla="*/ 5838 h 99134"/>
                    <a:gd name="connsiteX4" fmla="*/ 71335 w 87511"/>
                    <a:gd name="connsiteY4" fmla="*/ 28221 h 99134"/>
                    <a:gd name="connsiteX5" fmla="*/ 26663 w 87511"/>
                    <a:gd name="connsiteY5" fmla="*/ 62511 h 99134"/>
                    <a:gd name="connsiteX6" fmla="*/ 68478 w 87511"/>
                    <a:gd name="connsiteY6" fmla="*/ 84419 h 99134"/>
                    <a:gd name="connsiteX7" fmla="*/ 60382 w 87511"/>
                    <a:gd name="connsiteY7" fmla="*/ 36984 h 99134"/>
                    <a:gd name="connsiteX8" fmla="*/ 18567 w 87511"/>
                    <a:gd name="connsiteY8" fmla="*/ 15077 h 99134"/>
                    <a:gd name="connsiteX9" fmla="*/ 26663 w 87511"/>
                    <a:gd name="connsiteY9" fmla="*/ 62511 h 9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11" h="99134">
                      <a:moveTo>
                        <a:pt x="71335" y="28221"/>
                      </a:moveTo>
                      <a:cubicBezTo>
                        <a:pt x="92005" y="56796"/>
                        <a:pt x="92767" y="80228"/>
                        <a:pt x="74193" y="93658"/>
                      </a:cubicBezTo>
                      <a:cubicBezTo>
                        <a:pt x="57810" y="105564"/>
                        <a:pt x="35521" y="98135"/>
                        <a:pt x="15233" y="70608"/>
                      </a:cubicBezTo>
                      <a:cubicBezTo>
                        <a:pt x="-5150" y="42414"/>
                        <a:pt x="-4198" y="18125"/>
                        <a:pt x="12852" y="5838"/>
                      </a:cubicBezTo>
                      <a:cubicBezTo>
                        <a:pt x="30568" y="-6926"/>
                        <a:pt x="52000" y="1551"/>
                        <a:pt x="71335" y="28221"/>
                      </a:cubicBezTo>
                      <a:close/>
                      <a:moveTo>
                        <a:pt x="26663" y="62511"/>
                      </a:moveTo>
                      <a:cubicBezTo>
                        <a:pt x="42475" y="84324"/>
                        <a:pt x="58096" y="91848"/>
                        <a:pt x="68478" y="84419"/>
                      </a:cubicBezTo>
                      <a:cubicBezTo>
                        <a:pt x="80098" y="76037"/>
                        <a:pt x="75812" y="58416"/>
                        <a:pt x="60382" y="36984"/>
                      </a:cubicBezTo>
                      <a:cubicBezTo>
                        <a:pt x="45427" y="16315"/>
                        <a:pt x="30283" y="6600"/>
                        <a:pt x="18567" y="15077"/>
                      </a:cubicBezTo>
                      <a:cubicBezTo>
                        <a:pt x="8661" y="22221"/>
                        <a:pt x="10185" y="39651"/>
                        <a:pt x="26663" y="6251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21" name="Freeform: Shape 120">
                  <a:extLst>
                    <a:ext uri="{FF2B5EF4-FFF2-40B4-BE49-F238E27FC236}">
                      <a16:creationId xmlns:a16="http://schemas.microsoft.com/office/drawing/2014/main" id="{D609F879-0D41-021E-B3C4-2D21C3B8D4C5}"/>
                    </a:ext>
                  </a:extLst>
                </p:cNvPr>
                <p:cNvSpPr/>
                <p:nvPr/>
              </p:nvSpPr>
              <p:spPr>
                <a:xfrm>
                  <a:off x="5360646" y="1904541"/>
                  <a:ext cx="81951" cy="102832"/>
                </a:xfrm>
                <a:custGeom>
                  <a:avLst/>
                  <a:gdLst>
                    <a:gd name="connsiteX0" fmla="*/ 71556 w 81951"/>
                    <a:gd name="connsiteY0" fmla="*/ 34558 h 102832"/>
                    <a:gd name="connsiteX1" fmla="*/ 64412 w 81951"/>
                    <a:gd name="connsiteY1" fmla="*/ 99613 h 102832"/>
                    <a:gd name="connsiteX2" fmla="*/ 9644 w 81951"/>
                    <a:gd name="connsiteY2" fmla="*/ 67895 h 102832"/>
                    <a:gd name="connsiteX3" fmla="*/ 17073 w 81951"/>
                    <a:gd name="connsiteY3" fmla="*/ 3506 h 102832"/>
                    <a:gd name="connsiteX4" fmla="*/ 71461 w 81951"/>
                    <a:gd name="connsiteY4" fmla="*/ 34558 h 102832"/>
                    <a:gd name="connsiteX5" fmla="*/ 22217 w 81951"/>
                    <a:gd name="connsiteY5" fmla="*/ 61609 h 102832"/>
                    <a:gd name="connsiteX6" fmla="*/ 60221 w 81951"/>
                    <a:gd name="connsiteY6" fmla="*/ 89612 h 102832"/>
                    <a:gd name="connsiteX7" fmla="*/ 59364 w 81951"/>
                    <a:gd name="connsiteY7" fmla="*/ 41511 h 102832"/>
                    <a:gd name="connsiteX8" fmla="*/ 21359 w 81951"/>
                    <a:gd name="connsiteY8" fmla="*/ 13507 h 102832"/>
                    <a:gd name="connsiteX9" fmla="*/ 22217 w 81951"/>
                    <a:gd name="connsiteY9" fmla="*/ 61609 h 10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951" h="102832">
                      <a:moveTo>
                        <a:pt x="71556" y="34558"/>
                      </a:moveTo>
                      <a:cubicBezTo>
                        <a:pt x="87653" y="65895"/>
                        <a:pt x="84891" y="89136"/>
                        <a:pt x="64412" y="99613"/>
                      </a:cubicBezTo>
                      <a:cubicBezTo>
                        <a:pt x="46410" y="108853"/>
                        <a:pt x="25550" y="98185"/>
                        <a:pt x="9644" y="67895"/>
                      </a:cubicBezTo>
                      <a:cubicBezTo>
                        <a:pt x="-6263" y="36939"/>
                        <a:pt x="-1596" y="13126"/>
                        <a:pt x="17073" y="3506"/>
                      </a:cubicBezTo>
                      <a:cubicBezTo>
                        <a:pt x="36504" y="-6495"/>
                        <a:pt x="56411" y="5221"/>
                        <a:pt x="71461" y="34558"/>
                      </a:cubicBezTo>
                      <a:close/>
                      <a:moveTo>
                        <a:pt x="22217" y="61609"/>
                      </a:moveTo>
                      <a:cubicBezTo>
                        <a:pt x="34504" y="85612"/>
                        <a:pt x="48887" y="95422"/>
                        <a:pt x="60221" y="89612"/>
                      </a:cubicBezTo>
                      <a:cubicBezTo>
                        <a:pt x="72985" y="83040"/>
                        <a:pt x="71461" y="65038"/>
                        <a:pt x="59364" y="41511"/>
                      </a:cubicBezTo>
                      <a:cubicBezTo>
                        <a:pt x="47744" y="18841"/>
                        <a:pt x="34313" y="6935"/>
                        <a:pt x="21359" y="13507"/>
                      </a:cubicBezTo>
                      <a:cubicBezTo>
                        <a:pt x="10406" y="19127"/>
                        <a:pt x="9358" y="36558"/>
                        <a:pt x="22217" y="6160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22" name="Freeform: Shape 121">
                  <a:extLst>
                    <a:ext uri="{FF2B5EF4-FFF2-40B4-BE49-F238E27FC236}">
                      <a16:creationId xmlns:a16="http://schemas.microsoft.com/office/drawing/2014/main" id="{4B63E27A-D5BB-112A-7B6F-AF012A0D1856}"/>
                    </a:ext>
                  </a:extLst>
                </p:cNvPr>
                <p:cNvSpPr/>
                <p:nvPr/>
              </p:nvSpPr>
              <p:spPr>
                <a:xfrm>
                  <a:off x="5478874" y="1855659"/>
                  <a:ext cx="67341" cy="100774"/>
                </a:xfrm>
                <a:custGeom>
                  <a:avLst/>
                  <a:gdLst>
                    <a:gd name="connsiteX0" fmla="*/ 19812 w 67341"/>
                    <a:gd name="connsiteY0" fmla="*/ 17240 h 100774"/>
                    <a:gd name="connsiteX1" fmla="*/ 19526 w 67341"/>
                    <a:gd name="connsiteY1" fmla="*/ 17240 h 100774"/>
                    <a:gd name="connsiteX2" fmla="*/ 6668 w 67341"/>
                    <a:gd name="connsiteY2" fmla="*/ 33338 h 100774"/>
                    <a:gd name="connsiteX3" fmla="*/ 0 w 67341"/>
                    <a:gd name="connsiteY3" fmla="*/ 24575 h 100774"/>
                    <a:gd name="connsiteX4" fmla="*/ 16193 w 67341"/>
                    <a:gd name="connsiteY4" fmla="*/ 4667 h 100774"/>
                    <a:gd name="connsiteX5" fmla="*/ 27242 w 67341"/>
                    <a:gd name="connsiteY5" fmla="*/ 0 h 100774"/>
                    <a:gd name="connsiteX6" fmla="*/ 67342 w 67341"/>
                    <a:gd name="connsiteY6" fmla="*/ 95536 h 100774"/>
                    <a:gd name="connsiteX7" fmla="*/ 54864 w 67341"/>
                    <a:gd name="connsiteY7" fmla="*/ 100775 h 100774"/>
                    <a:gd name="connsiteX8" fmla="*/ 19907 w 67341"/>
                    <a:gd name="connsiteY8" fmla="*/ 17240 h 10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341" h="100774">
                      <a:moveTo>
                        <a:pt x="19812" y="17240"/>
                      </a:moveTo>
                      <a:lnTo>
                        <a:pt x="19526" y="17240"/>
                      </a:lnTo>
                      <a:cubicBezTo>
                        <a:pt x="19526" y="17240"/>
                        <a:pt x="6668" y="33338"/>
                        <a:pt x="6668" y="33338"/>
                      </a:cubicBezTo>
                      <a:lnTo>
                        <a:pt x="0" y="24575"/>
                      </a:lnTo>
                      <a:lnTo>
                        <a:pt x="16193" y="4667"/>
                      </a:lnTo>
                      <a:lnTo>
                        <a:pt x="27242" y="0"/>
                      </a:lnTo>
                      <a:lnTo>
                        <a:pt x="67342" y="95536"/>
                      </a:lnTo>
                      <a:lnTo>
                        <a:pt x="54864" y="100775"/>
                      </a:lnTo>
                      <a:lnTo>
                        <a:pt x="19907" y="1724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23" name="Freeform: Shape 122">
                  <a:extLst>
                    <a:ext uri="{FF2B5EF4-FFF2-40B4-BE49-F238E27FC236}">
                      <a16:creationId xmlns:a16="http://schemas.microsoft.com/office/drawing/2014/main" id="{6D8ECD79-68B6-54FB-396B-92D486BD707D}"/>
                    </a:ext>
                  </a:extLst>
                </p:cNvPr>
                <p:cNvSpPr/>
                <p:nvPr/>
              </p:nvSpPr>
              <p:spPr>
                <a:xfrm>
                  <a:off x="5597240" y="1814744"/>
                  <a:ext cx="76452" cy="105401"/>
                </a:xfrm>
                <a:custGeom>
                  <a:avLst/>
                  <a:gdLst>
                    <a:gd name="connsiteX0" fmla="*/ 71087 w 76452"/>
                    <a:gd name="connsiteY0" fmla="*/ 40725 h 105401"/>
                    <a:gd name="connsiteX1" fmla="*/ 54132 w 76452"/>
                    <a:gd name="connsiteY1" fmla="*/ 103876 h 105401"/>
                    <a:gd name="connsiteX2" fmla="*/ 4888 w 76452"/>
                    <a:gd name="connsiteY2" fmla="*/ 64156 h 105401"/>
                    <a:gd name="connsiteX3" fmla="*/ 22128 w 76452"/>
                    <a:gd name="connsiteY3" fmla="*/ 1672 h 105401"/>
                    <a:gd name="connsiteX4" fmla="*/ 71182 w 76452"/>
                    <a:gd name="connsiteY4" fmla="*/ 40630 h 105401"/>
                    <a:gd name="connsiteX5" fmla="*/ 18223 w 76452"/>
                    <a:gd name="connsiteY5" fmla="*/ 59965 h 105401"/>
                    <a:gd name="connsiteX6" fmla="*/ 51465 w 76452"/>
                    <a:gd name="connsiteY6" fmla="*/ 93398 h 105401"/>
                    <a:gd name="connsiteX7" fmla="*/ 57942 w 76452"/>
                    <a:gd name="connsiteY7" fmla="*/ 45773 h 105401"/>
                    <a:gd name="connsiteX8" fmla="*/ 24700 w 76452"/>
                    <a:gd name="connsiteY8" fmla="*/ 12340 h 105401"/>
                    <a:gd name="connsiteX9" fmla="*/ 18223 w 76452"/>
                    <a:gd name="connsiteY9" fmla="*/ 59965 h 10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452" h="105401">
                      <a:moveTo>
                        <a:pt x="71087" y="40725"/>
                      </a:moveTo>
                      <a:cubicBezTo>
                        <a:pt x="82136" y="74158"/>
                        <a:pt x="75944" y="96732"/>
                        <a:pt x="54132" y="103876"/>
                      </a:cubicBezTo>
                      <a:cubicBezTo>
                        <a:pt x="34892" y="110257"/>
                        <a:pt x="15937" y="96541"/>
                        <a:pt x="4888" y="64156"/>
                      </a:cubicBezTo>
                      <a:cubicBezTo>
                        <a:pt x="-6066" y="31200"/>
                        <a:pt x="2126" y="8340"/>
                        <a:pt x="22128" y="1672"/>
                      </a:cubicBezTo>
                      <a:cubicBezTo>
                        <a:pt x="42893" y="-5186"/>
                        <a:pt x="60800" y="9292"/>
                        <a:pt x="71182" y="40630"/>
                      </a:cubicBezTo>
                      <a:close/>
                      <a:moveTo>
                        <a:pt x="18223" y="59965"/>
                      </a:moveTo>
                      <a:cubicBezTo>
                        <a:pt x="26700" y="85492"/>
                        <a:pt x="39368" y="97399"/>
                        <a:pt x="51465" y="93398"/>
                      </a:cubicBezTo>
                      <a:cubicBezTo>
                        <a:pt x="65086" y="88921"/>
                        <a:pt x="66324" y="70824"/>
                        <a:pt x="57942" y="45773"/>
                      </a:cubicBezTo>
                      <a:cubicBezTo>
                        <a:pt x="49941" y="21580"/>
                        <a:pt x="38416" y="7768"/>
                        <a:pt x="24700" y="12340"/>
                      </a:cubicBezTo>
                      <a:cubicBezTo>
                        <a:pt x="13079" y="16246"/>
                        <a:pt x="9269" y="33200"/>
                        <a:pt x="18223" y="5996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29" name="Freeform: Shape 128">
                  <a:extLst>
                    <a:ext uri="{FF2B5EF4-FFF2-40B4-BE49-F238E27FC236}">
                      <a16:creationId xmlns:a16="http://schemas.microsoft.com/office/drawing/2014/main" id="{33855D91-1823-F4C2-A599-AA42BD895E31}"/>
                    </a:ext>
                  </a:extLst>
                </p:cNvPr>
                <p:cNvSpPr/>
                <p:nvPr/>
              </p:nvSpPr>
              <p:spPr>
                <a:xfrm>
                  <a:off x="5723095" y="1784412"/>
                  <a:ext cx="56768" cy="103536"/>
                </a:xfrm>
                <a:custGeom>
                  <a:avLst/>
                  <a:gdLst>
                    <a:gd name="connsiteX0" fmla="*/ 20574 w 56768"/>
                    <a:gd name="connsiteY0" fmla="*/ 16002 h 103536"/>
                    <a:gd name="connsiteX1" fmla="*/ 20288 w 56768"/>
                    <a:gd name="connsiteY1" fmla="*/ 16002 h 103536"/>
                    <a:gd name="connsiteX2" fmla="*/ 5334 w 56768"/>
                    <a:gd name="connsiteY2" fmla="*/ 30099 h 103536"/>
                    <a:gd name="connsiteX3" fmla="*/ 0 w 56768"/>
                    <a:gd name="connsiteY3" fmla="*/ 20479 h 103536"/>
                    <a:gd name="connsiteX4" fmla="*/ 18764 w 56768"/>
                    <a:gd name="connsiteY4" fmla="*/ 3048 h 103536"/>
                    <a:gd name="connsiteX5" fmla="*/ 30289 w 56768"/>
                    <a:gd name="connsiteY5" fmla="*/ 0 h 103536"/>
                    <a:gd name="connsiteX6" fmla="*/ 56769 w 56768"/>
                    <a:gd name="connsiteY6" fmla="*/ 100108 h 103536"/>
                    <a:gd name="connsiteX7" fmla="*/ 43720 w 56768"/>
                    <a:gd name="connsiteY7" fmla="*/ 103537 h 103536"/>
                    <a:gd name="connsiteX8" fmla="*/ 20574 w 56768"/>
                    <a:gd name="connsiteY8" fmla="*/ 16002 h 1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8" h="103536">
                      <a:moveTo>
                        <a:pt x="20574" y="16002"/>
                      </a:moveTo>
                      <a:lnTo>
                        <a:pt x="20288" y="16002"/>
                      </a:lnTo>
                      <a:cubicBezTo>
                        <a:pt x="20288" y="16002"/>
                        <a:pt x="5334" y="30099"/>
                        <a:pt x="5334" y="30099"/>
                      </a:cubicBezTo>
                      <a:lnTo>
                        <a:pt x="0" y="20479"/>
                      </a:lnTo>
                      <a:lnTo>
                        <a:pt x="18764" y="3048"/>
                      </a:lnTo>
                      <a:lnTo>
                        <a:pt x="30289" y="0"/>
                      </a:lnTo>
                      <a:lnTo>
                        <a:pt x="56769" y="100108"/>
                      </a:lnTo>
                      <a:lnTo>
                        <a:pt x="43720" y="103537"/>
                      </a:lnTo>
                      <a:lnTo>
                        <a:pt x="20574" y="1600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31" name="Freeform: Shape 130">
                  <a:extLst>
                    <a:ext uri="{FF2B5EF4-FFF2-40B4-BE49-F238E27FC236}">
                      <a16:creationId xmlns:a16="http://schemas.microsoft.com/office/drawing/2014/main" id="{CB285F8B-B2C8-E65E-E115-DCC07CBF4987}"/>
                    </a:ext>
                  </a:extLst>
                </p:cNvPr>
                <p:cNvSpPr/>
                <p:nvPr/>
              </p:nvSpPr>
              <p:spPr>
                <a:xfrm>
                  <a:off x="5843609" y="1762121"/>
                  <a:ext cx="72354" cy="106841"/>
                </a:xfrm>
                <a:custGeom>
                  <a:avLst/>
                  <a:gdLst>
                    <a:gd name="connsiteX0" fmla="*/ 70653 w 72354"/>
                    <a:gd name="connsiteY0" fmla="*/ 46485 h 106841"/>
                    <a:gd name="connsiteX1" fmla="*/ 44268 w 72354"/>
                    <a:gd name="connsiteY1" fmla="*/ 106397 h 106841"/>
                    <a:gd name="connsiteX2" fmla="*/ 1501 w 72354"/>
                    <a:gd name="connsiteY2" fmla="*/ 59629 h 106841"/>
                    <a:gd name="connsiteX3" fmla="*/ 27981 w 72354"/>
                    <a:gd name="connsiteY3" fmla="*/ 479 h 106841"/>
                    <a:gd name="connsiteX4" fmla="*/ 70557 w 72354"/>
                    <a:gd name="connsiteY4" fmla="*/ 46389 h 106841"/>
                    <a:gd name="connsiteX5" fmla="*/ 15408 w 72354"/>
                    <a:gd name="connsiteY5" fmla="*/ 57534 h 106841"/>
                    <a:gd name="connsiteX6" fmla="*/ 43220 w 72354"/>
                    <a:gd name="connsiteY6" fmla="*/ 95634 h 106841"/>
                    <a:gd name="connsiteX7" fmla="*/ 56841 w 72354"/>
                    <a:gd name="connsiteY7" fmla="*/ 49437 h 106841"/>
                    <a:gd name="connsiteX8" fmla="*/ 29028 w 72354"/>
                    <a:gd name="connsiteY8" fmla="*/ 11337 h 106841"/>
                    <a:gd name="connsiteX9" fmla="*/ 15408 w 72354"/>
                    <a:gd name="connsiteY9" fmla="*/ 57438 h 10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54" h="106841">
                      <a:moveTo>
                        <a:pt x="70653" y="46485"/>
                      </a:moveTo>
                      <a:cubicBezTo>
                        <a:pt x="76558" y="81251"/>
                        <a:pt x="66938" y="102587"/>
                        <a:pt x="44268" y="106397"/>
                      </a:cubicBezTo>
                      <a:cubicBezTo>
                        <a:pt x="24266" y="109826"/>
                        <a:pt x="7597" y="93348"/>
                        <a:pt x="1501" y="59629"/>
                      </a:cubicBezTo>
                      <a:cubicBezTo>
                        <a:pt x="-4309" y="25339"/>
                        <a:pt x="7216" y="4003"/>
                        <a:pt x="27981" y="479"/>
                      </a:cubicBezTo>
                      <a:cubicBezTo>
                        <a:pt x="49507" y="-3141"/>
                        <a:pt x="65033" y="13909"/>
                        <a:pt x="70557" y="46389"/>
                      </a:cubicBezTo>
                      <a:close/>
                      <a:moveTo>
                        <a:pt x="15408" y="57534"/>
                      </a:moveTo>
                      <a:cubicBezTo>
                        <a:pt x="19980" y="84108"/>
                        <a:pt x="30648" y="97729"/>
                        <a:pt x="43220" y="95634"/>
                      </a:cubicBezTo>
                      <a:cubicBezTo>
                        <a:pt x="57413" y="93252"/>
                        <a:pt x="61318" y="75536"/>
                        <a:pt x="56841" y="49437"/>
                      </a:cubicBezTo>
                      <a:cubicBezTo>
                        <a:pt x="52555" y="24291"/>
                        <a:pt x="43316" y="8861"/>
                        <a:pt x="29028" y="11337"/>
                      </a:cubicBezTo>
                      <a:cubicBezTo>
                        <a:pt x="16932" y="13433"/>
                        <a:pt x="10645" y="29625"/>
                        <a:pt x="15408" y="57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32" name="Freeform: Shape 131">
                  <a:extLst>
                    <a:ext uri="{FF2B5EF4-FFF2-40B4-BE49-F238E27FC236}">
                      <a16:creationId xmlns:a16="http://schemas.microsoft.com/office/drawing/2014/main" id="{585719D6-9860-A37B-242D-ABF79A9E65CD}"/>
                    </a:ext>
                  </a:extLst>
                </p:cNvPr>
                <p:cNvSpPr/>
                <p:nvPr/>
              </p:nvSpPr>
              <p:spPr>
                <a:xfrm>
                  <a:off x="5976556" y="1751170"/>
                  <a:ext cx="42862" cy="104394"/>
                </a:xfrm>
                <a:custGeom>
                  <a:avLst/>
                  <a:gdLst>
                    <a:gd name="connsiteX0" fmla="*/ 21050 w 42862"/>
                    <a:gd name="connsiteY0" fmla="*/ 14288 h 104394"/>
                    <a:gd name="connsiteX1" fmla="*/ 20764 w 42862"/>
                    <a:gd name="connsiteY1" fmla="*/ 14288 h 104394"/>
                    <a:gd name="connsiteX2" fmla="*/ 3715 w 42862"/>
                    <a:gd name="connsiteY2" fmla="*/ 25622 h 104394"/>
                    <a:gd name="connsiteX3" fmla="*/ 0 w 42862"/>
                    <a:gd name="connsiteY3" fmla="*/ 15240 h 104394"/>
                    <a:gd name="connsiteX4" fmla="*/ 21431 w 42862"/>
                    <a:gd name="connsiteY4" fmla="*/ 1143 h 104394"/>
                    <a:gd name="connsiteX5" fmla="*/ 33338 w 42862"/>
                    <a:gd name="connsiteY5" fmla="*/ 0 h 104394"/>
                    <a:gd name="connsiteX6" fmla="*/ 42863 w 42862"/>
                    <a:gd name="connsiteY6" fmla="*/ 103156 h 104394"/>
                    <a:gd name="connsiteX7" fmla="*/ 29337 w 42862"/>
                    <a:gd name="connsiteY7" fmla="*/ 104394 h 104394"/>
                    <a:gd name="connsiteX8" fmla="*/ 21050 w 42862"/>
                    <a:gd name="connsiteY8" fmla="*/ 14288 h 104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862" h="104394">
                      <a:moveTo>
                        <a:pt x="21050" y="14288"/>
                      </a:moveTo>
                      <a:lnTo>
                        <a:pt x="20764" y="14288"/>
                      </a:lnTo>
                      <a:cubicBezTo>
                        <a:pt x="20764" y="14288"/>
                        <a:pt x="3715" y="25622"/>
                        <a:pt x="3715" y="25622"/>
                      </a:cubicBezTo>
                      <a:lnTo>
                        <a:pt x="0" y="15240"/>
                      </a:lnTo>
                      <a:lnTo>
                        <a:pt x="21431" y="1143"/>
                      </a:lnTo>
                      <a:lnTo>
                        <a:pt x="33338" y="0"/>
                      </a:lnTo>
                      <a:lnTo>
                        <a:pt x="42863" y="103156"/>
                      </a:lnTo>
                      <a:lnTo>
                        <a:pt x="29337" y="104394"/>
                      </a:lnTo>
                      <a:lnTo>
                        <a:pt x="21050" y="1428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35" name="Freeform: Shape 134">
                  <a:extLst>
                    <a:ext uri="{FF2B5EF4-FFF2-40B4-BE49-F238E27FC236}">
                      <a16:creationId xmlns:a16="http://schemas.microsoft.com/office/drawing/2014/main" id="{A70FA271-5F0C-FF41-27AB-9BDD2B0F0682}"/>
                    </a:ext>
                  </a:extLst>
                </p:cNvPr>
                <p:cNvSpPr/>
                <p:nvPr/>
              </p:nvSpPr>
              <p:spPr>
                <a:xfrm>
                  <a:off x="6094173" y="1747831"/>
                  <a:ext cx="70233" cy="107069"/>
                </a:xfrm>
                <a:custGeom>
                  <a:avLst/>
                  <a:gdLst>
                    <a:gd name="connsiteX0" fmla="*/ 70215 w 70233"/>
                    <a:gd name="connsiteY0" fmla="*/ 51917 h 107069"/>
                    <a:gd name="connsiteX1" fmla="*/ 35068 w 70233"/>
                    <a:gd name="connsiteY1" fmla="*/ 107067 h 107069"/>
                    <a:gd name="connsiteX2" fmla="*/ 16 w 70233"/>
                    <a:gd name="connsiteY2" fmla="*/ 54393 h 107069"/>
                    <a:gd name="connsiteX3" fmla="*/ 35163 w 70233"/>
                    <a:gd name="connsiteY3" fmla="*/ 6 h 107069"/>
                    <a:gd name="connsiteX4" fmla="*/ 70215 w 70233"/>
                    <a:gd name="connsiteY4" fmla="*/ 51917 h 107069"/>
                    <a:gd name="connsiteX5" fmla="*/ 14018 w 70233"/>
                    <a:gd name="connsiteY5" fmla="*/ 54393 h 107069"/>
                    <a:gd name="connsiteX6" fmla="*/ 35735 w 70233"/>
                    <a:gd name="connsiteY6" fmla="*/ 96303 h 107069"/>
                    <a:gd name="connsiteX7" fmla="*/ 56214 w 70233"/>
                    <a:gd name="connsiteY7" fmla="*/ 52774 h 107069"/>
                    <a:gd name="connsiteX8" fmla="*/ 34592 w 70233"/>
                    <a:gd name="connsiteY8" fmla="*/ 10864 h 107069"/>
                    <a:gd name="connsiteX9" fmla="*/ 14018 w 70233"/>
                    <a:gd name="connsiteY9" fmla="*/ 54393 h 10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233" h="107069">
                      <a:moveTo>
                        <a:pt x="70215" y="51917"/>
                      </a:moveTo>
                      <a:cubicBezTo>
                        <a:pt x="70787" y="87159"/>
                        <a:pt x="57928" y="106781"/>
                        <a:pt x="35068" y="107067"/>
                      </a:cubicBezTo>
                      <a:cubicBezTo>
                        <a:pt x="14875" y="107352"/>
                        <a:pt x="873" y="88588"/>
                        <a:pt x="16" y="54393"/>
                      </a:cubicBezTo>
                      <a:cubicBezTo>
                        <a:pt x="-555" y="19627"/>
                        <a:pt x="14113" y="291"/>
                        <a:pt x="35163" y="6"/>
                      </a:cubicBezTo>
                      <a:cubicBezTo>
                        <a:pt x="56976" y="-375"/>
                        <a:pt x="69739" y="18960"/>
                        <a:pt x="70215" y="51917"/>
                      </a:cubicBezTo>
                      <a:close/>
                      <a:moveTo>
                        <a:pt x="14018" y="54393"/>
                      </a:moveTo>
                      <a:cubicBezTo>
                        <a:pt x="14399" y="81349"/>
                        <a:pt x="22971" y="96494"/>
                        <a:pt x="35735" y="96303"/>
                      </a:cubicBezTo>
                      <a:cubicBezTo>
                        <a:pt x="50118" y="96113"/>
                        <a:pt x="56690" y="79254"/>
                        <a:pt x="56214" y="52774"/>
                      </a:cubicBezTo>
                      <a:cubicBezTo>
                        <a:pt x="55833" y="27247"/>
                        <a:pt x="49070" y="10674"/>
                        <a:pt x="34592" y="10864"/>
                      </a:cubicBezTo>
                      <a:cubicBezTo>
                        <a:pt x="22305" y="11055"/>
                        <a:pt x="13637" y="26199"/>
                        <a:pt x="14018" y="5439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57" name="Freeform: Shape 156">
                  <a:extLst>
                    <a:ext uri="{FF2B5EF4-FFF2-40B4-BE49-F238E27FC236}">
                      <a16:creationId xmlns:a16="http://schemas.microsoft.com/office/drawing/2014/main" id="{79E6BC0A-14E2-65A3-C6F0-FAEC4D6522CF}"/>
                    </a:ext>
                  </a:extLst>
                </p:cNvPr>
                <p:cNvSpPr/>
                <p:nvPr/>
              </p:nvSpPr>
              <p:spPr>
                <a:xfrm>
                  <a:off x="6338029" y="1771701"/>
                  <a:ext cx="71845" cy="106512"/>
                </a:xfrm>
                <a:custGeom>
                  <a:avLst/>
                  <a:gdLst>
                    <a:gd name="connsiteX0" fmla="*/ 70771 w 71845"/>
                    <a:gd name="connsiteY0" fmla="*/ 56908 h 106512"/>
                    <a:gd name="connsiteX1" fmla="*/ 27623 w 71845"/>
                    <a:gd name="connsiteY1" fmla="*/ 106152 h 106512"/>
                    <a:gd name="connsiteX2" fmla="*/ 952 w 71845"/>
                    <a:gd name="connsiteY2" fmla="*/ 48716 h 106512"/>
                    <a:gd name="connsiteX3" fmla="*/ 44006 w 71845"/>
                    <a:gd name="connsiteY3" fmla="*/ 329 h 106512"/>
                    <a:gd name="connsiteX4" fmla="*/ 70771 w 71845"/>
                    <a:gd name="connsiteY4" fmla="*/ 56908 h 106512"/>
                    <a:gd name="connsiteX5" fmla="*/ 14859 w 71845"/>
                    <a:gd name="connsiteY5" fmla="*/ 50812 h 106512"/>
                    <a:gd name="connsiteX6" fmla="*/ 29909 w 71845"/>
                    <a:gd name="connsiteY6" fmla="*/ 95484 h 106512"/>
                    <a:gd name="connsiteX7" fmla="*/ 56769 w 71845"/>
                    <a:gd name="connsiteY7" fmla="*/ 55574 h 106512"/>
                    <a:gd name="connsiteX8" fmla="*/ 41719 w 71845"/>
                    <a:gd name="connsiteY8" fmla="*/ 10902 h 106512"/>
                    <a:gd name="connsiteX9" fmla="*/ 14859 w 71845"/>
                    <a:gd name="connsiteY9" fmla="*/ 50812 h 1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845" h="106512">
                      <a:moveTo>
                        <a:pt x="70771" y="56908"/>
                      </a:moveTo>
                      <a:cubicBezTo>
                        <a:pt x="65913" y="91770"/>
                        <a:pt x="50387" y="109295"/>
                        <a:pt x="27623" y="106152"/>
                      </a:cubicBezTo>
                      <a:cubicBezTo>
                        <a:pt x="7620" y="103390"/>
                        <a:pt x="-3429" y="82721"/>
                        <a:pt x="952" y="48716"/>
                      </a:cubicBezTo>
                      <a:cubicBezTo>
                        <a:pt x="5715" y="14331"/>
                        <a:pt x="23146" y="-2623"/>
                        <a:pt x="44006" y="329"/>
                      </a:cubicBezTo>
                      <a:cubicBezTo>
                        <a:pt x="65627" y="3282"/>
                        <a:pt x="75248" y="24237"/>
                        <a:pt x="70771" y="56908"/>
                      </a:cubicBezTo>
                      <a:close/>
                      <a:moveTo>
                        <a:pt x="14859" y="50812"/>
                      </a:moveTo>
                      <a:cubicBezTo>
                        <a:pt x="11144" y="77482"/>
                        <a:pt x="17335" y="93770"/>
                        <a:pt x="29909" y="95484"/>
                      </a:cubicBezTo>
                      <a:cubicBezTo>
                        <a:pt x="44101" y="97389"/>
                        <a:pt x="53150" y="81768"/>
                        <a:pt x="56769" y="55574"/>
                      </a:cubicBezTo>
                      <a:cubicBezTo>
                        <a:pt x="60293" y="30333"/>
                        <a:pt x="56102" y="12902"/>
                        <a:pt x="41719" y="10902"/>
                      </a:cubicBezTo>
                      <a:cubicBezTo>
                        <a:pt x="29527" y="9188"/>
                        <a:pt x="18669" y="22808"/>
                        <a:pt x="14859" y="5081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58" name="Freeform: Shape 157">
                  <a:extLst>
                    <a:ext uri="{FF2B5EF4-FFF2-40B4-BE49-F238E27FC236}">
                      <a16:creationId xmlns:a16="http://schemas.microsoft.com/office/drawing/2014/main" id="{FE5C48FE-D51C-BCC9-1406-507A5E734DE2}"/>
                    </a:ext>
                  </a:extLst>
                </p:cNvPr>
                <p:cNvSpPr/>
                <p:nvPr/>
              </p:nvSpPr>
              <p:spPr>
                <a:xfrm>
                  <a:off x="6480904" y="1799938"/>
                  <a:ext cx="36385" cy="103822"/>
                </a:xfrm>
                <a:custGeom>
                  <a:avLst/>
                  <a:gdLst>
                    <a:gd name="connsiteX0" fmla="*/ 20288 w 36385"/>
                    <a:gd name="connsiteY0" fmla="*/ 12478 h 103822"/>
                    <a:gd name="connsiteX1" fmla="*/ 20002 w 36385"/>
                    <a:gd name="connsiteY1" fmla="*/ 12478 h 103822"/>
                    <a:gd name="connsiteX2" fmla="*/ 381 w 36385"/>
                    <a:gd name="connsiteY2" fmla="*/ 18098 h 103822"/>
                    <a:gd name="connsiteX3" fmla="*/ 0 w 36385"/>
                    <a:gd name="connsiteY3" fmla="*/ 7049 h 103822"/>
                    <a:gd name="connsiteX4" fmla="*/ 24670 w 36385"/>
                    <a:gd name="connsiteY4" fmla="*/ 0 h 103822"/>
                    <a:gd name="connsiteX5" fmla="*/ 36385 w 36385"/>
                    <a:gd name="connsiteY5" fmla="*/ 2572 h 103822"/>
                    <a:gd name="connsiteX6" fmla="*/ 14383 w 36385"/>
                    <a:gd name="connsiteY6" fmla="*/ 103823 h 103822"/>
                    <a:gd name="connsiteX7" fmla="*/ 1143 w 36385"/>
                    <a:gd name="connsiteY7" fmla="*/ 100965 h 103822"/>
                    <a:gd name="connsiteX8" fmla="*/ 20383 w 36385"/>
                    <a:gd name="connsiteY8" fmla="*/ 12478 h 10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85" h="103822">
                      <a:moveTo>
                        <a:pt x="20288" y="12478"/>
                      </a:moveTo>
                      <a:lnTo>
                        <a:pt x="20002" y="12478"/>
                      </a:lnTo>
                      <a:cubicBezTo>
                        <a:pt x="20002" y="12478"/>
                        <a:pt x="381" y="18098"/>
                        <a:pt x="381" y="18098"/>
                      </a:cubicBezTo>
                      <a:lnTo>
                        <a:pt x="0" y="7049"/>
                      </a:lnTo>
                      <a:lnTo>
                        <a:pt x="24670" y="0"/>
                      </a:lnTo>
                      <a:lnTo>
                        <a:pt x="36385" y="2572"/>
                      </a:lnTo>
                      <a:lnTo>
                        <a:pt x="14383" y="103823"/>
                      </a:lnTo>
                      <a:lnTo>
                        <a:pt x="1143" y="100965"/>
                      </a:lnTo>
                      <a:lnTo>
                        <a:pt x="20383" y="1247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59" name="Freeform: Shape 158">
                  <a:extLst>
                    <a:ext uri="{FF2B5EF4-FFF2-40B4-BE49-F238E27FC236}">
                      <a16:creationId xmlns:a16="http://schemas.microsoft.com/office/drawing/2014/main" id="{B057D970-A773-0747-9EB5-78539010BAB9}"/>
                    </a:ext>
                  </a:extLst>
                </p:cNvPr>
                <p:cNvSpPr/>
                <p:nvPr/>
              </p:nvSpPr>
              <p:spPr>
                <a:xfrm>
                  <a:off x="6598157" y="1836324"/>
                  <a:ext cx="42671" cy="102679"/>
                </a:xfrm>
                <a:custGeom>
                  <a:avLst/>
                  <a:gdLst>
                    <a:gd name="connsiteX0" fmla="*/ 25908 w 42671"/>
                    <a:gd name="connsiteY0" fmla="*/ 12097 h 102679"/>
                    <a:gd name="connsiteX1" fmla="*/ 25622 w 42671"/>
                    <a:gd name="connsiteY1" fmla="*/ 12097 h 102679"/>
                    <a:gd name="connsiteX2" fmla="*/ 5620 w 42671"/>
                    <a:gd name="connsiteY2" fmla="*/ 16097 h 102679"/>
                    <a:gd name="connsiteX3" fmla="*/ 6096 w 42671"/>
                    <a:gd name="connsiteY3" fmla="*/ 5143 h 102679"/>
                    <a:gd name="connsiteX4" fmla="*/ 31242 w 42671"/>
                    <a:gd name="connsiteY4" fmla="*/ 0 h 102679"/>
                    <a:gd name="connsiteX5" fmla="*/ 42672 w 42671"/>
                    <a:gd name="connsiteY5" fmla="*/ 3429 h 102679"/>
                    <a:gd name="connsiteX6" fmla="*/ 12954 w 42671"/>
                    <a:gd name="connsiteY6" fmla="*/ 102680 h 102679"/>
                    <a:gd name="connsiteX7" fmla="*/ 0 w 42671"/>
                    <a:gd name="connsiteY7" fmla="*/ 98774 h 102679"/>
                    <a:gd name="connsiteX8" fmla="*/ 26003 w 42671"/>
                    <a:gd name="connsiteY8" fmla="*/ 12097 h 102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71" h="102679">
                      <a:moveTo>
                        <a:pt x="25908" y="12097"/>
                      </a:moveTo>
                      <a:lnTo>
                        <a:pt x="25622" y="12097"/>
                      </a:lnTo>
                      <a:cubicBezTo>
                        <a:pt x="25622" y="12097"/>
                        <a:pt x="5620" y="16097"/>
                        <a:pt x="5620" y="16097"/>
                      </a:cubicBezTo>
                      <a:lnTo>
                        <a:pt x="6096" y="5143"/>
                      </a:lnTo>
                      <a:lnTo>
                        <a:pt x="31242" y="0"/>
                      </a:lnTo>
                      <a:lnTo>
                        <a:pt x="42672" y="3429"/>
                      </a:lnTo>
                      <a:lnTo>
                        <a:pt x="12954" y="102680"/>
                      </a:lnTo>
                      <a:lnTo>
                        <a:pt x="0" y="98774"/>
                      </a:lnTo>
                      <a:lnTo>
                        <a:pt x="26003" y="1209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60" name="Freeform: Shape 159">
                  <a:extLst>
                    <a:ext uri="{FF2B5EF4-FFF2-40B4-BE49-F238E27FC236}">
                      <a16:creationId xmlns:a16="http://schemas.microsoft.com/office/drawing/2014/main" id="{0FA9C0C1-656B-02FE-0F0E-B0780C76C393}"/>
                    </a:ext>
                  </a:extLst>
                </p:cNvPr>
                <p:cNvSpPr/>
                <p:nvPr/>
              </p:nvSpPr>
              <p:spPr>
                <a:xfrm>
                  <a:off x="6711028" y="1882044"/>
                  <a:ext cx="49910" cy="100869"/>
                </a:xfrm>
                <a:custGeom>
                  <a:avLst/>
                  <a:gdLst>
                    <a:gd name="connsiteX0" fmla="*/ 32575 w 49910"/>
                    <a:gd name="connsiteY0" fmla="*/ 11621 h 100869"/>
                    <a:gd name="connsiteX1" fmla="*/ 32290 w 49910"/>
                    <a:gd name="connsiteY1" fmla="*/ 11621 h 100869"/>
                    <a:gd name="connsiteX2" fmla="*/ 12001 w 49910"/>
                    <a:gd name="connsiteY2" fmla="*/ 14097 h 100869"/>
                    <a:gd name="connsiteX3" fmla="*/ 13335 w 49910"/>
                    <a:gd name="connsiteY3" fmla="*/ 3143 h 100869"/>
                    <a:gd name="connsiteX4" fmla="*/ 38767 w 49910"/>
                    <a:gd name="connsiteY4" fmla="*/ 0 h 100869"/>
                    <a:gd name="connsiteX5" fmla="*/ 49911 w 49910"/>
                    <a:gd name="connsiteY5" fmla="*/ 4286 h 100869"/>
                    <a:gd name="connsiteX6" fmla="*/ 12668 w 49910"/>
                    <a:gd name="connsiteY6" fmla="*/ 100870 h 100869"/>
                    <a:gd name="connsiteX7" fmla="*/ 0 w 49910"/>
                    <a:gd name="connsiteY7" fmla="*/ 96012 h 100869"/>
                    <a:gd name="connsiteX8" fmla="*/ 32575 w 49910"/>
                    <a:gd name="connsiteY8" fmla="*/ 11525 h 10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10" h="100869">
                      <a:moveTo>
                        <a:pt x="32575" y="11621"/>
                      </a:moveTo>
                      <a:lnTo>
                        <a:pt x="32290" y="11621"/>
                      </a:lnTo>
                      <a:cubicBezTo>
                        <a:pt x="32290" y="11621"/>
                        <a:pt x="12001" y="14097"/>
                        <a:pt x="12001" y="14097"/>
                      </a:cubicBezTo>
                      <a:lnTo>
                        <a:pt x="13335" y="3143"/>
                      </a:lnTo>
                      <a:lnTo>
                        <a:pt x="38767" y="0"/>
                      </a:lnTo>
                      <a:lnTo>
                        <a:pt x="49911" y="4286"/>
                      </a:lnTo>
                      <a:lnTo>
                        <a:pt x="12668" y="100870"/>
                      </a:lnTo>
                      <a:lnTo>
                        <a:pt x="0" y="96012"/>
                      </a:lnTo>
                      <a:lnTo>
                        <a:pt x="32575" y="115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61" name="Freeform: Shape 160">
                  <a:extLst>
                    <a:ext uri="{FF2B5EF4-FFF2-40B4-BE49-F238E27FC236}">
                      <a16:creationId xmlns:a16="http://schemas.microsoft.com/office/drawing/2014/main" id="{269FCC03-9556-68ED-3B64-737B112B22F2}"/>
                    </a:ext>
                  </a:extLst>
                </p:cNvPr>
                <p:cNvSpPr/>
                <p:nvPr/>
              </p:nvSpPr>
              <p:spPr>
                <a:xfrm>
                  <a:off x="6820661" y="1936813"/>
                  <a:ext cx="56769" cy="98679"/>
                </a:xfrm>
                <a:custGeom>
                  <a:avLst/>
                  <a:gdLst>
                    <a:gd name="connsiteX0" fmla="*/ 39052 w 56769"/>
                    <a:gd name="connsiteY0" fmla="*/ 11144 h 98679"/>
                    <a:gd name="connsiteX1" fmla="*/ 38767 w 56769"/>
                    <a:gd name="connsiteY1" fmla="*/ 11144 h 98679"/>
                    <a:gd name="connsiteX2" fmla="*/ 18288 w 56769"/>
                    <a:gd name="connsiteY2" fmla="*/ 12002 h 98679"/>
                    <a:gd name="connsiteX3" fmla="*/ 20383 w 56769"/>
                    <a:gd name="connsiteY3" fmla="*/ 1238 h 98679"/>
                    <a:gd name="connsiteX4" fmla="*/ 46006 w 56769"/>
                    <a:gd name="connsiteY4" fmla="*/ 0 h 98679"/>
                    <a:gd name="connsiteX5" fmla="*/ 56769 w 56769"/>
                    <a:gd name="connsiteY5" fmla="*/ 5143 h 98679"/>
                    <a:gd name="connsiteX6" fmla="*/ 12192 w 56769"/>
                    <a:gd name="connsiteY6" fmla="*/ 98679 h 98679"/>
                    <a:gd name="connsiteX7" fmla="*/ 0 w 56769"/>
                    <a:gd name="connsiteY7" fmla="*/ 92869 h 98679"/>
                    <a:gd name="connsiteX8" fmla="*/ 38957 w 56769"/>
                    <a:gd name="connsiteY8" fmla="*/ 11144 h 9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769" h="98679">
                      <a:moveTo>
                        <a:pt x="39052" y="11144"/>
                      </a:moveTo>
                      <a:lnTo>
                        <a:pt x="38767" y="11144"/>
                      </a:lnTo>
                      <a:cubicBezTo>
                        <a:pt x="38767" y="11144"/>
                        <a:pt x="18288" y="12002"/>
                        <a:pt x="18288" y="12002"/>
                      </a:cubicBezTo>
                      <a:lnTo>
                        <a:pt x="20383" y="1238"/>
                      </a:lnTo>
                      <a:lnTo>
                        <a:pt x="46006" y="0"/>
                      </a:lnTo>
                      <a:lnTo>
                        <a:pt x="56769" y="5143"/>
                      </a:lnTo>
                      <a:lnTo>
                        <a:pt x="12192" y="98679"/>
                      </a:lnTo>
                      <a:lnTo>
                        <a:pt x="0" y="92869"/>
                      </a:lnTo>
                      <a:lnTo>
                        <a:pt x="38957" y="11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64" name="Freeform: Shape 163">
                  <a:extLst>
                    <a:ext uri="{FF2B5EF4-FFF2-40B4-BE49-F238E27FC236}">
                      <a16:creationId xmlns:a16="http://schemas.microsoft.com/office/drawing/2014/main" id="{9FB5CD0B-82DD-7E21-0573-D6B5C7530F69}"/>
                    </a:ext>
                  </a:extLst>
                </p:cNvPr>
                <p:cNvSpPr/>
                <p:nvPr/>
              </p:nvSpPr>
              <p:spPr>
                <a:xfrm>
                  <a:off x="6912774" y="1996025"/>
                  <a:ext cx="84507" cy="100756"/>
                </a:xfrm>
                <a:custGeom>
                  <a:avLst/>
                  <a:gdLst>
                    <a:gd name="connsiteX0" fmla="*/ 72955 w 84507"/>
                    <a:gd name="connsiteY0" fmla="*/ 66708 h 100756"/>
                    <a:gd name="connsiteX1" fmla="*/ 14567 w 84507"/>
                    <a:gd name="connsiteY1" fmla="*/ 96235 h 100756"/>
                    <a:gd name="connsiteX2" fmla="*/ 11329 w 84507"/>
                    <a:gd name="connsiteY2" fmla="*/ 32989 h 100756"/>
                    <a:gd name="connsiteX3" fmla="*/ 69336 w 84507"/>
                    <a:gd name="connsiteY3" fmla="*/ 4128 h 100756"/>
                    <a:gd name="connsiteX4" fmla="*/ 73051 w 84507"/>
                    <a:gd name="connsiteY4" fmla="*/ 66612 h 100756"/>
                    <a:gd name="connsiteX5" fmla="*/ 23330 w 84507"/>
                    <a:gd name="connsiteY5" fmla="*/ 40133 h 100756"/>
                    <a:gd name="connsiteX6" fmla="*/ 20568 w 84507"/>
                    <a:gd name="connsiteY6" fmla="*/ 87282 h 100756"/>
                    <a:gd name="connsiteX7" fmla="*/ 60382 w 84507"/>
                    <a:gd name="connsiteY7" fmla="*/ 60326 h 100756"/>
                    <a:gd name="connsiteX8" fmla="*/ 63145 w 84507"/>
                    <a:gd name="connsiteY8" fmla="*/ 13177 h 100756"/>
                    <a:gd name="connsiteX9" fmla="*/ 23330 w 84507"/>
                    <a:gd name="connsiteY9" fmla="*/ 40133 h 10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507" h="100756">
                      <a:moveTo>
                        <a:pt x="72955" y="66708"/>
                      </a:moveTo>
                      <a:cubicBezTo>
                        <a:pt x="55429" y="97283"/>
                        <a:pt x="34474" y="107665"/>
                        <a:pt x="14567" y="96235"/>
                      </a:cubicBezTo>
                      <a:cubicBezTo>
                        <a:pt x="-2959" y="86139"/>
                        <a:pt x="-5436" y="62898"/>
                        <a:pt x="11329" y="32989"/>
                      </a:cubicBezTo>
                      <a:cubicBezTo>
                        <a:pt x="28569" y="2795"/>
                        <a:pt x="51143" y="-6254"/>
                        <a:pt x="69336" y="4128"/>
                      </a:cubicBezTo>
                      <a:cubicBezTo>
                        <a:pt x="88290" y="14987"/>
                        <a:pt x="89434" y="38037"/>
                        <a:pt x="73051" y="66612"/>
                      </a:cubicBezTo>
                      <a:close/>
                      <a:moveTo>
                        <a:pt x="23330" y="40133"/>
                      </a:moveTo>
                      <a:cubicBezTo>
                        <a:pt x="9900" y="63469"/>
                        <a:pt x="9519" y="80900"/>
                        <a:pt x="20568" y="87282"/>
                      </a:cubicBezTo>
                      <a:cubicBezTo>
                        <a:pt x="33046" y="94425"/>
                        <a:pt x="47238" y="83281"/>
                        <a:pt x="60382" y="60326"/>
                      </a:cubicBezTo>
                      <a:cubicBezTo>
                        <a:pt x="73051" y="38228"/>
                        <a:pt x="75718" y="20416"/>
                        <a:pt x="63145" y="13177"/>
                      </a:cubicBezTo>
                      <a:cubicBezTo>
                        <a:pt x="52477" y="7081"/>
                        <a:pt x="37332" y="15654"/>
                        <a:pt x="23330" y="401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65" name="Freeform: Shape 164">
                  <a:extLst>
                    <a:ext uri="{FF2B5EF4-FFF2-40B4-BE49-F238E27FC236}">
                      <a16:creationId xmlns:a16="http://schemas.microsoft.com/office/drawing/2014/main" id="{9B339B77-F115-39B6-D201-A052787EBD48}"/>
                    </a:ext>
                  </a:extLst>
                </p:cNvPr>
                <p:cNvSpPr/>
                <p:nvPr/>
              </p:nvSpPr>
              <p:spPr>
                <a:xfrm>
                  <a:off x="7015005" y="2066954"/>
                  <a:ext cx="87365" cy="98765"/>
                </a:xfrm>
                <a:custGeom>
                  <a:avLst/>
                  <a:gdLst>
                    <a:gd name="connsiteX0" fmla="*/ 73118 w 87365"/>
                    <a:gd name="connsiteY0" fmla="*/ 67979 h 98765"/>
                    <a:gd name="connsiteX1" fmla="*/ 12634 w 87365"/>
                    <a:gd name="connsiteY1" fmla="*/ 92934 h 98765"/>
                    <a:gd name="connsiteX2" fmla="*/ 14158 w 87365"/>
                    <a:gd name="connsiteY2" fmla="*/ 29688 h 98765"/>
                    <a:gd name="connsiteX3" fmla="*/ 74166 w 87365"/>
                    <a:gd name="connsiteY3" fmla="*/ 5399 h 98765"/>
                    <a:gd name="connsiteX4" fmla="*/ 73118 w 87365"/>
                    <a:gd name="connsiteY4" fmla="*/ 67979 h 98765"/>
                    <a:gd name="connsiteX5" fmla="*/ 25684 w 87365"/>
                    <a:gd name="connsiteY5" fmla="*/ 37689 h 98765"/>
                    <a:gd name="connsiteX6" fmla="*/ 19397 w 87365"/>
                    <a:gd name="connsiteY6" fmla="*/ 84457 h 98765"/>
                    <a:gd name="connsiteX7" fmla="*/ 61212 w 87365"/>
                    <a:gd name="connsiteY7" fmla="*/ 60644 h 98765"/>
                    <a:gd name="connsiteX8" fmla="*/ 67499 w 87365"/>
                    <a:gd name="connsiteY8" fmla="*/ 13877 h 98765"/>
                    <a:gd name="connsiteX9" fmla="*/ 25684 w 87365"/>
                    <a:gd name="connsiteY9" fmla="*/ 37689 h 9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365" h="98765">
                      <a:moveTo>
                        <a:pt x="73118" y="67979"/>
                      </a:moveTo>
                      <a:cubicBezTo>
                        <a:pt x="53306" y="97125"/>
                        <a:pt x="31589" y="105888"/>
                        <a:pt x="12634" y="92934"/>
                      </a:cubicBezTo>
                      <a:cubicBezTo>
                        <a:pt x="-4130" y="81599"/>
                        <a:pt x="-4796" y="58168"/>
                        <a:pt x="14158" y="29688"/>
                      </a:cubicBezTo>
                      <a:cubicBezTo>
                        <a:pt x="33685" y="923"/>
                        <a:pt x="56831" y="-6411"/>
                        <a:pt x="74166" y="5399"/>
                      </a:cubicBezTo>
                      <a:cubicBezTo>
                        <a:pt x="92264" y="17687"/>
                        <a:pt x="91597" y="40737"/>
                        <a:pt x="73118" y="67979"/>
                      </a:cubicBezTo>
                      <a:close/>
                      <a:moveTo>
                        <a:pt x="25684" y="37689"/>
                      </a:moveTo>
                      <a:cubicBezTo>
                        <a:pt x="10539" y="59978"/>
                        <a:pt x="8825" y="77313"/>
                        <a:pt x="19397" y="84457"/>
                      </a:cubicBezTo>
                      <a:cubicBezTo>
                        <a:pt x="31303" y="92553"/>
                        <a:pt x="46353" y="82552"/>
                        <a:pt x="61212" y="60644"/>
                      </a:cubicBezTo>
                      <a:cubicBezTo>
                        <a:pt x="75500" y="39594"/>
                        <a:pt x="79500" y="22068"/>
                        <a:pt x="67499" y="13877"/>
                      </a:cubicBezTo>
                      <a:cubicBezTo>
                        <a:pt x="57402" y="7019"/>
                        <a:pt x="41591" y="14353"/>
                        <a:pt x="25684" y="3768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66" name="Freeform: Shape 165">
                  <a:extLst>
                    <a:ext uri="{FF2B5EF4-FFF2-40B4-BE49-F238E27FC236}">
                      <a16:creationId xmlns:a16="http://schemas.microsoft.com/office/drawing/2014/main" id="{3B1F8304-B7C7-542F-4C9A-5D6C60A13E67}"/>
                    </a:ext>
                  </a:extLst>
                </p:cNvPr>
                <p:cNvSpPr/>
                <p:nvPr/>
              </p:nvSpPr>
              <p:spPr>
                <a:xfrm>
                  <a:off x="7111636" y="2145762"/>
                  <a:ext cx="90207" cy="96581"/>
                </a:xfrm>
                <a:custGeom>
                  <a:avLst/>
                  <a:gdLst>
                    <a:gd name="connsiteX0" fmla="*/ 72975 w 90207"/>
                    <a:gd name="connsiteY0" fmla="*/ 69085 h 96581"/>
                    <a:gd name="connsiteX1" fmla="*/ 10777 w 90207"/>
                    <a:gd name="connsiteY1" fmla="*/ 89373 h 96581"/>
                    <a:gd name="connsiteX2" fmla="*/ 17158 w 90207"/>
                    <a:gd name="connsiteY2" fmla="*/ 26413 h 96581"/>
                    <a:gd name="connsiteX3" fmla="*/ 78880 w 90207"/>
                    <a:gd name="connsiteY3" fmla="*/ 6792 h 96581"/>
                    <a:gd name="connsiteX4" fmla="*/ 72975 w 90207"/>
                    <a:gd name="connsiteY4" fmla="*/ 69085 h 96581"/>
                    <a:gd name="connsiteX5" fmla="*/ 28017 w 90207"/>
                    <a:gd name="connsiteY5" fmla="*/ 35271 h 96581"/>
                    <a:gd name="connsiteX6" fmla="*/ 18111 w 90207"/>
                    <a:gd name="connsiteY6" fmla="*/ 81372 h 96581"/>
                    <a:gd name="connsiteX7" fmla="*/ 61545 w 90207"/>
                    <a:gd name="connsiteY7" fmla="*/ 60798 h 96581"/>
                    <a:gd name="connsiteX8" fmla="*/ 71451 w 90207"/>
                    <a:gd name="connsiteY8" fmla="*/ 14697 h 96581"/>
                    <a:gd name="connsiteX9" fmla="*/ 28017 w 90207"/>
                    <a:gd name="connsiteY9" fmla="*/ 35271 h 9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07" h="96581">
                      <a:moveTo>
                        <a:pt x="72975" y="69085"/>
                      </a:moveTo>
                      <a:cubicBezTo>
                        <a:pt x="51067" y="96612"/>
                        <a:pt x="28684" y="103661"/>
                        <a:pt x="10777" y="89373"/>
                      </a:cubicBezTo>
                      <a:cubicBezTo>
                        <a:pt x="-5035" y="76800"/>
                        <a:pt x="-3892" y="53369"/>
                        <a:pt x="17158" y="26413"/>
                      </a:cubicBezTo>
                      <a:cubicBezTo>
                        <a:pt x="38780" y="-733"/>
                        <a:pt x="62402" y="-6353"/>
                        <a:pt x="78880" y="6792"/>
                      </a:cubicBezTo>
                      <a:cubicBezTo>
                        <a:pt x="95930" y="20412"/>
                        <a:pt x="93549" y="43368"/>
                        <a:pt x="72975" y="69085"/>
                      </a:cubicBezTo>
                      <a:close/>
                      <a:moveTo>
                        <a:pt x="28017" y="35271"/>
                      </a:moveTo>
                      <a:cubicBezTo>
                        <a:pt x="11253" y="56322"/>
                        <a:pt x="8205" y="73467"/>
                        <a:pt x="18111" y="81372"/>
                      </a:cubicBezTo>
                      <a:cubicBezTo>
                        <a:pt x="29350" y="90326"/>
                        <a:pt x="45067" y="81468"/>
                        <a:pt x="61545" y="60798"/>
                      </a:cubicBezTo>
                      <a:cubicBezTo>
                        <a:pt x="77452" y="40891"/>
                        <a:pt x="82786" y="23746"/>
                        <a:pt x="71451" y="14697"/>
                      </a:cubicBezTo>
                      <a:cubicBezTo>
                        <a:pt x="61831" y="7077"/>
                        <a:pt x="45543" y="13173"/>
                        <a:pt x="28017" y="352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67" name="Freeform: Shape 166">
                  <a:extLst>
                    <a:ext uri="{FF2B5EF4-FFF2-40B4-BE49-F238E27FC236}">
                      <a16:creationId xmlns:a16="http://schemas.microsoft.com/office/drawing/2014/main" id="{79746E23-D605-3BA5-99D7-4EF92F961BFC}"/>
                    </a:ext>
                  </a:extLst>
                </p:cNvPr>
                <p:cNvSpPr/>
                <p:nvPr/>
              </p:nvSpPr>
              <p:spPr>
                <a:xfrm>
                  <a:off x="7210519" y="2233040"/>
                  <a:ext cx="80486" cy="90487"/>
                </a:xfrm>
                <a:custGeom>
                  <a:avLst/>
                  <a:gdLst>
                    <a:gd name="connsiteX0" fmla="*/ 61627 w 80486"/>
                    <a:gd name="connsiteY0" fmla="*/ 14954 h 90487"/>
                    <a:gd name="connsiteX1" fmla="*/ 61436 w 80486"/>
                    <a:gd name="connsiteY1" fmla="*/ 14764 h 90487"/>
                    <a:gd name="connsiteX2" fmla="*/ 41624 w 80486"/>
                    <a:gd name="connsiteY2" fmla="*/ 9620 h 90487"/>
                    <a:gd name="connsiteX3" fmla="*/ 46863 w 80486"/>
                    <a:gd name="connsiteY3" fmla="*/ 0 h 90487"/>
                    <a:gd name="connsiteX4" fmla="*/ 71723 w 80486"/>
                    <a:gd name="connsiteY4" fmla="*/ 6572 h 90487"/>
                    <a:gd name="connsiteX5" fmla="*/ 80486 w 80486"/>
                    <a:gd name="connsiteY5" fmla="*/ 14669 h 90487"/>
                    <a:gd name="connsiteX6" fmla="*/ 9906 w 80486"/>
                    <a:gd name="connsiteY6" fmla="*/ 90488 h 90487"/>
                    <a:gd name="connsiteX7" fmla="*/ 0 w 80486"/>
                    <a:gd name="connsiteY7" fmla="*/ 81248 h 90487"/>
                    <a:gd name="connsiteX8" fmla="*/ 61627 w 80486"/>
                    <a:gd name="connsiteY8" fmla="*/ 14954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486" h="90487">
                      <a:moveTo>
                        <a:pt x="61627" y="14954"/>
                      </a:moveTo>
                      <a:lnTo>
                        <a:pt x="61436" y="14764"/>
                      </a:lnTo>
                      <a:lnTo>
                        <a:pt x="41624" y="9620"/>
                      </a:lnTo>
                      <a:lnTo>
                        <a:pt x="46863" y="0"/>
                      </a:lnTo>
                      <a:lnTo>
                        <a:pt x="71723" y="6572"/>
                      </a:lnTo>
                      <a:lnTo>
                        <a:pt x="80486" y="14669"/>
                      </a:lnTo>
                      <a:lnTo>
                        <a:pt x="9906" y="90488"/>
                      </a:lnTo>
                      <a:lnTo>
                        <a:pt x="0" y="81248"/>
                      </a:lnTo>
                      <a:lnTo>
                        <a:pt x="61627" y="1495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68" name="Freeform: Shape 167">
                  <a:extLst>
                    <a:ext uri="{FF2B5EF4-FFF2-40B4-BE49-F238E27FC236}">
                      <a16:creationId xmlns:a16="http://schemas.microsoft.com/office/drawing/2014/main" id="{7869FC70-F104-7658-A5CE-5BA840A72CCF}"/>
                    </a:ext>
                  </a:extLst>
                </p:cNvPr>
                <p:cNvSpPr/>
                <p:nvPr/>
              </p:nvSpPr>
              <p:spPr>
                <a:xfrm>
                  <a:off x="7293101" y="2325814"/>
                  <a:ext cx="85344" cy="87439"/>
                </a:xfrm>
                <a:custGeom>
                  <a:avLst/>
                  <a:gdLst>
                    <a:gd name="connsiteX0" fmla="*/ 66580 w 85344"/>
                    <a:gd name="connsiteY0" fmla="*/ 16097 h 87439"/>
                    <a:gd name="connsiteX1" fmla="*/ 66389 w 85344"/>
                    <a:gd name="connsiteY1" fmla="*/ 15907 h 87439"/>
                    <a:gd name="connsiteX2" fmla="*/ 47054 w 85344"/>
                    <a:gd name="connsiteY2" fmla="*/ 9239 h 87439"/>
                    <a:gd name="connsiteX3" fmla="*/ 53054 w 85344"/>
                    <a:gd name="connsiteY3" fmla="*/ 0 h 87439"/>
                    <a:gd name="connsiteX4" fmla="*/ 77248 w 85344"/>
                    <a:gd name="connsiteY4" fmla="*/ 8477 h 87439"/>
                    <a:gd name="connsiteX5" fmla="*/ 85344 w 85344"/>
                    <a:gd name="connsiteY5" fmla="*/ 17240 h 87439"/>
                    <a:gd name="connsiteX6" fmla="*/ 9144 w 85344"/>
                    <a:gd name="connsiteY6" fmla="*/ 87440 h 87439"/>
                    <a:gd name="connsiteX7" fmla="*/ 0 w 85344"/>
                    <a:gd name="connsiteY7" fmla="*/ 77438 h 87439"/>
                    <a:gd name="connsiteX8" fmla="*/ 66580 w 85344"/>
                    <a:gd name="connsiteY8" fmla="*/ 16097 h 8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344" h="87439">
                      <a:moveTo>
                        <a:pt x="66580" y="16097"/>
                      </a:moveTo>
                      <a:lnTo>
                        <a:pt x="66389" y="15907"/>
                      </a:lnTo>
                      <a:lnTo>
                        <a:pt x="47054" y="9239"/>
                      </a:lnTo>
                      <a:lnTo>
                        <a:pt x="53054" y="0"/>
                      </a:lnTo>
                      <a:lnTo>
                        <a:pt x="77248" y="8477"/>
                      </a:lnTo>
                      <a:lnTo>
                        <a:pt x="85344" y="17240"/>
                      </a:lnTo>
                      <a:lnTo>
                        <a:pt x="9144" y="87440"/>
                      </a:lnTo>
                      <a:lnTo>
                        <a:pt x="0" y="77438"/>
                      </a:lnTo>
                      <a:lnTo>
                        <a:pt x="66580" y="1609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69" name="Freeform: Shape 168">
                  <a:extLst>
                    <a:ext uri="{FF2B5EF4-FFF2-40B4-BE49-F238E27FC236}">
                      <a16:creationId xmlns:a16="http://schemas.microsoft.com/office/drawing/2014/main" id="{60092BAF-E283-BAE9-DFA9-E76D3E32B396}"/>
                    </a:ext>
                  </a:extLst>
                </p:cNvPr>
                <p:cNvSpPr/>
                <p:nvPr/>
              </p:nvSpPr>
              <p:spPr>
                <a:xfrm>
                  <a:off x="7429036" y="2525534"/>
                  <a:ext cx="100042" cy="86232"/>
                </a:xfrm>
                <a:custGeom>
                  <a:avLst/>
                  <a:gdLst>
                    <a:gd name="connsiteX0" fmla="*/ 70377 w 100042"/>
                    <a:gd name="connsiteY0" fmla="*/ 71361 h 86232"/>
                    <a:gd name="connsiteX1" fmla="*/ 4940 w 100042"/>
                    <a:gd name="connsiteY1" fmla="*/ 72028 h 86232"/>
                    <a:gd name="connsiteX2" fmla="*/ 29991 w 100042"/>
                    <a:gd name="connsiteY2" fmla="*/ 13925 h 86232"/>
                    <a:gd name="connsiteX3" fmla="*/ 94761 w 100042"/>
                    <a:gd name="connsiteY3" fmla="*/ 13735 h 86232"/>
                    <a:gd name="connsiteX4" fmla="*/ 70377 w 100042"/>
                    <a:gd name="connsiteY4" fmla="*/ 71456 h 86232"/>
                    <a:gd name="connsiteX5" fmla="*/ 37611 w 100042"/>
                    <a:gd name="connsiteY5" fmla="*/ 25546 h 86232"/>
                    <a:gd name="connsiteX6" fmla="*/ 14275 w 100042"/>
                    <a:gd name="connsiteY6" fmla="*/ 66598 h 86232"/>
                    <a:gd name="connsiteX7" fmla="*/ 61900 w 100042"/>
                    <a:gd name="connsiteY7" fmla="*/ 60121 h 86232"/>
                    <a:gd name="connsiteX8" fmla="*/ 85141 w 100042"/>
                    <a:gd name="connsiteY8" fmla="*/ 19069 h 86232"/>
                    <a:gd name="connsiteX9" fmla="*/ 37516 w 100042"/>
                    <a:gd name="connsiteY9" fmla="*/ 25546 h 8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42" h="86232">
                      <a:moveTo>
                        <a:pt x="70377" y="71361"/>
                      </a:moveTo>
                      <a:cubicBezTo>
                        <a:pt x="41135" y="91078"/>
                        <a:pt x="17704" y="91078"/>
                        <a:pt x="4940" y="72028"/>
                      </a:cubicBezTo>
                      <a:cubicBezTo>
                        <a:pt x="-6395" y="55264"/>
                        <a:pt x="1702" y="33261"/>
                        <a:pt x="29991" y="13925"/>
                      </a:cubicBezTo>
                      <a:cubicBezTo>
                        <a:pt x="58852" y="-5506"/>
                        <a:pt x="83045" y="-3696"/>
                        <a:pt x="94761" y="13735"/>
                      </a:cubicBezTo>
                      <a:cubicBezTo>
                        <a:pt x="106953" y="31832"/>
                        <a:pt x="97714" y="52978"/>
                        <a:pt x="70377" y="71456"/>
                      </a:cubicBezTo>
                      <a:close/>
                      <a:moveTo>
                        <a:pt x="37611" y="25546"/>
                      </a:moveTo>
                      <a:cubicBezTo>
                        <a:pt x="15322" y="40595"/>
                        <a:pt x="7226" y="56026"/>
                        <a:pt x="14275" y="66598"/>
                      </a:cubicBezTo>
                      <a:cubicBezTo>
                        <a:pt x="22276" y="78505"/>
                        <a:pt x="39992" y="74885"/>
                        <a:pt x="61900" y="60121"/>
                      </a:cubicBezTo>
                      <a:cubicBezTo>
                        <a:pt x="83045" y="45929"/>
                        <a:pt x="93237" y="31165"/>
                        <a:pt x="85141" y="19069"/>
                      </a:cubicBezTo>
                      <a:cubicBezTo>
                        <a:pt x="78283" y="8877"/>
                        <a:pt x="60852" y="9829"/>
                        <a:pt x="37516" y="255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70" name="Freeform: Shape 169">
                  <a:extLst>
                    <a:ext uri="{FF2B5EF4-FFF2-40B4-BE49-F238E27FC236}">
                      <a16:creationId xmlns:a16="http://schemas.microsoft.com/office/drawing/2014/main" id="{AF23F8D9-D418-FCDA-09B3-B03DC681D6E6}"/>
                    </a:ext>
                  </a:extLst>
                </p:cNvPr>
                <p:cNvSpPr/>
                <p:nvPr/>
              </p:nvSpPr>
              <p:spPr>
                <a:xfrm>
                  <a:off x="7494364" y="2636328"/>
                  <a:ext cx="96774" cy="75152"/>
                </a:xfrm>
                <a:custGeom>
                  <a:avLst/>
                  <a:gdLst>
                    <a:gd name="connsiteX0" fmla="*/ 78677 w 96774"/>
                    <a:gd name="connsiteY0" fmla="*/ 18764 h 75152"/>
                    <a:gd name="connsiteX1" fmla="*/ 78677 w 96774"/>
                    <a:gd name="connsiteY1" fmla="*/ 18479 h 75152"/>
                    <a:gd name="connsiteX2" fmla="*/ 61246 w 96774"/>
                    <a:gd name="connsiteY2" fmla="*/ 7620 h 75152"/>
                    <a:gd name="connsiteX3" fmla="*/ 69152 w 96774"/>
                    <a:gd name="connsiteY3" fmla="*/ 0 h 75152"/>
                    <a:gd name="connsiteX4" fmla="*/ 90869 w 96774"/>
                    <a:gd name="connsiteY4" fmla="*/ 13716 h 75152"/>
                    <a:gd name="connsiteX5" fmla="*/ 96774 w 96774"/>
                    <a:gd name="connsiteY5" fmla="*/ 24098 h 75152"/>
                    <a:gd name="connsiteX6" fmla="*/ 6668 w 96774"/>
                    <a:gd name="connsiteY6" fmla="*/ 75152 h 75152"/>
                    <a:gd name="connsiteX7" fmla="*/ 0 w 96774"/>
                    <a:gd name="connsiteY7" fmla="*/ 63341 h 75152"/>
                    <a:gd name="connsiteX8" fmla="*/ 78772 w 96774"/>
                    <a:gd name="connsiteY8" fmla="*/ 18669 h 7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774" h="75152">
                      <a:moveTo>
                        <a:pt x="78677" y="18764"/>
                      </a:moveTo>
                      <a:lnTo>
                        <a:pt x="78677" y="18479"/>
                      </a:lnTo>
                      <a:cubicBezTo>
                        <a:pt x="78677" y="18479"/>
                        <a:pt x="61246" y="7620"/>
                        <a:pt x="61246" y="7620"/>
                      </a:cubicBezTo>
                      <a:lnTo>
                        <a:pt x="69152" y="0"/>
                      </a:lnTo>
                      <a:lnTo>
                        <a:pt x="90869" y="13716"/>
                      </a:lnTo>
                      <a:lnTo>
                        <a:pt x="96774" y="24098"/>
                      </a:lnTo>
                      <a:lnTo>
                        <a:pt x="6668" y="75152"/>
                      </a:lnTo>
                      <a:lnTo>
                        <a:pt x="0" y="63341"/>
                      </a:lnTo>
                      <a:lnTo>
                        <a:pt x="78772" y="1866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71" name="Freeform: Shape 170">
                  <a:extLst>
                    <a:ext uri="{FF2B5EF4-FFF2-40B4-BE49-F238E27FC236}">
                      <a16:creationId xmlns:a16="http://schemas.microsoft.com/office/drawing/2014/main" id="{EDB4A121-9970-9875-5ADA-6B2FBA484F68}"/>
                    </a:ext>
                  </a:extLst>
                </p:cNvPr>
                <p:cNvSpPr/>
                <p:nvPr/>
              </p:nvSpPr>
              <p:spPr>
                <a:xfrm>
                  <a:off x="7542741" y="2749921"/>
                  <a:ext cx="103417" cy="80603"/>
                </a:xfrm>
                <a:custGeom>
                  <a:avLst/>
                  <a:gdLst>
                    <a:gd name="connsiteX0" fmla="*/ 67543 w 103417"/>
                    <a:gd name="connsiteY0" fmla="*/ 71478 h 80603"/>
                    <a:gd name="connsiteX1" fmla="*/ 2772 w 103417"/>
                    <a:gd name="connsiteY1" fmla="*/ 62049 h 80603"/>
                    <a:gd name="connsiteX2" fmla="*/ 36396 w 103417"/>
                    <a:gd name="connsiteY2" fmla="*/ 8423 h 80603"/>
                    <a:gd name="connsiteX3" fmla="*/ 100404 w 103417"/>
                    <a:gd name="connsiteY3" fmla="*/ 18138 h 80603"/>
                    <a:gd name="connsiteX4" fmla="*/ 67447 w 103417"/>
                    <a:gd name="connsiteY4" fmla="*/ 71383 h 80603"/>
                    <a:gd name="connsiteX5" fmla="*/ 42206 w 103417"/>
                    <a:gd name="connsiteY5" fmla="*/ 21186 h 80603"/>
                    <a:gd name="connsiteX6" fmla="*/ 12869 w 103417"/>
                    <a:gd name="connsiteY6" fmla="*/ 58143 h 80603"/>
                    <a:gd name="connsiteX7" fmla="*/ 60970 w 103417"/>
                    <a:gd name="connsiteY7" fmla="*/ 59001 h 80603"/>
                    <a:gd name="connsiteX8" fmla="*/ 90307 w 103417"/>
                    <a:gd name="connsiteY8" fmla="*/ 22044 h 80603"/>
                    <a:gd name="connsiteX9" fmla="*/ 42206 w 103417"/>
                    <a:gd name="connsiteY9" fmla="*/ 21186 h 8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417" h="80603">
                      <a:moveTo>
                        <a:pt x="67543" y="71478"/>
                      </a:moveTo>
                      <a:cubicBezTo>
                        <a:pt x="35634" y="86433"/>
                        <a:pt x="12488" y="82813"/>
                        <a:pt x="2772" y="62049"/>
                      </a:cubicBezTo>
                      <a:cubicBezTo>
                        <a:pt x="-5800" y="43761"/>
                        <a:pt x="5535" y="23282"/>
                        <a:pt x="36396" y="8423"/>
                      </a:cubicBezTo>
                      <a:cubicBezTo>
                        <a:pt x="67828" y="-6341"/>
                        <a:pt x="91545" y="-816"/>
                        <a:pt x="100404" y="18138"/>
                      </a:cubicBezTo>
                      <a:cubicBezTo>
                        <a:pt x="109643" y="37950"/>
                        <a:pt x="97356" y="57381"/>
                        <a:pt x="67447" y="71383"/>
                      </a:cubicBezTo>
                      <a:close/>
                      <a:moveTo>
                        <a:pt x="42206" y="21186"/>
                      </a:moveTo>
                      <a:cubicBezTo>
                        <a:pt x="17822" y="32616"/>
                        <a:pt x="7535" y="46618"/>
                        <a:pt x="12869" y="58143"/>
                      </a:cubicBezTo>
                      <a:cubicBezTo>
                        <a:pt x="18965" y="71097"/>
                        <a:pt x="36967" y="70240"/>
                        <a:pt x="60970" y="59001"/>
                      </a:cubicBezTo>
                      <a:cubicBezTo>
                        <a:pt x="84021" y="48237"/>
                        <a:pt x="96403" y="35188"/>
                        <a:pt x="90307" y="22044"/>
                      </a:cubicBezTo>
                      <a:cubicBezTo>
                        <a:pt x="85069" y="10899"/>
                        <a:pt x="67733" y="9185"/>
                        <a:pt x="42206" y="211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172" name="Freeform: Shape 171">
                  <a:extLst>
                    <a:ext uri="{FF2B5EF4-FFF2-40B4-BE49-F238E27FC236}">
                      <a16:creationId xmlns:a16="http://schemas.microsoft.com/office/drawing/2014/main" id="{EE3553C3-57DE-A194-A785-AF3BACD53266}"/>
                    </a:ext>
                  </a:extLst>
                </p:cNvPr>
                <p:cNvSpPr/>
                <p:nvPr/>
              </p:nvSpPr>
              <p:spPr>
                <a:xfrm>
                  <a:off x="7589328" y="2869977"/>
                  <a:ext cx="101631" cy="64579"/>
                </a:xfrm>
                <a:custGeom>
                  <a:avLst/>
                  <a:gdLst>
                    <a:gd name="connsiteX0" fmla="*/ 84582 w 101631"/>
                    <a:gd name="connsiteY0" fmla="*/ 20003 h 64579"/>
                    <a:gd name="connsiteX1" fmla="*/ 84582 w 101631"/>
                    <a:gd name="connsiteY1" fmla="*/ 19717 h 64579"/>
                    <a:gd name="connsiteX2" fmla="*/ 69056 w 101631"/>
                    <a:gd name="connsiteY2" fmla="*/ 6287 h 64579"/>
                    <a:gd name="connsiteX3" fmla="*/ 78105 w 101631"/>
                    <a:gd name="connsiteY3" fmla="*/ 0 h 64579"/>
                    <a:gd name="connsiteX4" fmla="*/ 97441 w 101631"/>
                    <a:gd name="connsiteY4" fmla="*/ 16859 h 64579"/>
                    <a:gd name="connsiteX5" fmla="*/ 101632 w 101631"/>
                    <a:gd name="connsiteY5" fmla="*/ 28004 h 64579"/>
                    <a:gd name="connsiteX6" fmla="*/ 4763 w 101631"/>
                    <a:gd name="connsiteY6" fmla="*/ 64579 h 64579"/>
                    <a:gd name="connsiteX7" fmla="*/ 0 w 101631"/>
                    <a:gd name="connsiteY7" fmla="*/ 51911 h 64579"/>
                    <a:gd name="connsiteX8" fmla="*/ 84677 w 101631"/>
                    <a:gd name="connsiteY8" fmla="*/ 20003 h 6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631" h="64579">
                      <a:moveTo>
                        <a:pt x="84582" y="20003"/>
                      </a:moveTo>
                      <a:lnTo>
                        <a:pt x="84582" y="19717"/>
                      </a:lnTo>
                      <a:cubicBezTo>
                        <a:pt x="84582" y="19717"/>
                        <a:pt x="69056" y="6287"/>
                        <a:pt x="69056" y="6287"/>
                      </a:cubicBezTo>
                      <a:lnTo>
                        <a:pt x="78105" y="0"/>
                      </a:lnTo>
                      <a:lnTo>
                        <a:pt x="97441" y="16859"/>
                      </a:lnTo>
                      <a:lnTo>
                        <a:pt x="101632" y="28004"/>
                      </a:lnTo>
                      <a:lnTo>
                        <a:pt x="4763" y="64579"/>
                      </a:lnTo>
                      <a:lnTo>
                        <a:pt x="0" y="51911"/>
                      </a:lnTo>
                      <a:lnTo>
                        <a:pt x="84677" y="2000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nvGrpSpPr>
              <p:cNvPr id="38" name="Group 37">
                <a:extLst>
                  <a:ext uri="{FF2B5EF4-FFF2-40B4-BE49-F238E27FC236}">
                    <a16:creationId xmlns:a16="http://schemas.microsoft.com/office/drawing/2014/main" id="{91BB2B32-07C7-2A8A-544B-E18CC9339315}"/>
                  </a:ext>
                </a:extLst>
              </p:cNvPr>
              <p:cNvGrpSpPr/>
              <p:nvPr/>
            </p:nvGrpSpPr>
            <p:grpSpPr>
              <a:xfrm>
                <a:off x="4837469" y="2626100"/>
                <a:ext cx="2517060" cy="1311132"/>
                <a:chOff x="4658721" y="1359830"/>
                <a:chExt cx="470469" cy="245066"/>
              </a:xfrm>
            </p:grpSpPr>
            <p:sp>
              <p:nvSpPr>
                <p:cNvPr id="39" name="Freeform: Shape 38">
                  <a:extLst>
                    <a:ext uri="{FF2B5EF4-FFF2-40B4-BE49-F238E27FC236}">
                      <a16:creationId xmlns:a16="http://schemas.microsoft.com/office/drawing/2014/main" id="{B08A7B36-774C-183B-C1B1-FB7B2CAF0A2C}"/>
                    </a:ext>
                  </a:extLst>
                </p:cNvPr>
                <p:cNvSpPr/>
                <p:nvPr/>
              </p:nvSpPr>
              <p:spPr>
                <a:xfrm>
                  <a:off x="4658721" y="1359830"/>
                  <a:ext cx="470469" cy="240639"/>
                </a:xfrm>
                <a:custGeom>
                  <a:avLst/>
                  <a:gdLst>
                    <a:gd name="connsiteX0" fmla="*/ 210472 w 470469"/>
                    <a:gd name="connsiteY0" fmla="*/ 0 h 240639"/>
                    <a:gd name="connsiteX1" fmla="*/ 304839 w 470469"/>
                    <a:gd name="connsiteY1" fmla="*/ 43778 h 240639"/>
                    <a:gd name="connsiteX2" fmla="*/ 320550 w 470469"/>
                    <a:gd name="connsiteY2" fmla="*/ 42524 h 240639"/>
                    <a:gd name="connsiteX3" fmla="*/ 410343 w 470469"/>
                    <a:gd name="connsiteY3" fmla="*/ 96103 h 240639"/>
                    <a:gd name="connsiteX4" fmla="*/ 470469 w 470469"/>
                    <a:gd name="connsiteY4" fmla="*/ 169312 h 240639"/>
                    <a:gd name="connsiteX5" fmla="*/ 419499 w 470469"/>
                    <a:gd name="connsiteY5" fmla="*/ 240076 h 240639"/>
                    <a:gd name="connsiteX6" fmla="*/ 417862 w 470469"/>
                    <a:gd name="connsiteY6" fmla="*/ 240639 h 240639"/>
                    <a:gd name="connsiteX7" fmla="*/ 360981 w 470469"/>
                    <a:gd name="connsiteY7" fmla="*/ 240639 h 240639"/>
                    <a:gd name="connsiteX8" fmla="*/ 360981 w 470469"/>
                    <a:gd name="connsiteY8" fmla="*/ 219728 h 240639"/>
                    <a:gd name="connsiteX9" fmla="*/ 414326 w 470469"/>
                    <a:gd name="connsiteY9" fmla="*/ 219728 h 240639"/>
                    <a:gd name="connsiteX10" fmla="*/ 449557 w 470469"/>
                    <a:gd name="connsiteY10" fmla="*/ 169312 h 240639"/>
                    <a:gd name="connsiteX11" fmla="*/ 402051 w 470469"/>
                    <a:gd name="connsiteY11" fmla="*/ 115915 h 240639"/>
                    <a:gd name="connsiteX12" fmla="*/ 396342 w 470469"/>
                    <a:gd name="connsiteY12" fmla="*/ 115178 h 240639"/>
                    <a:gd name="connsiteX13" fmla="*/ 393905 w 470469"/>
                    <a:gd name="connsiteY13" fmla="*/ 109959 h 240639"/>
                    <a:gd name="connsiteX14" fmla="*/ 320550 w 470469"/>
                    <a:gd name="connsiteY14" fmla="*/ 63435 h 240639"/>
                    <a:gd name="connsiteX15" fmla="*/ 302839 w 470469"/>
                    <a:gd name="connsiteY15" fmla="*/ 65417 h 240639"/>
                    <a:gd name="connsiteX16" fmla="*/ 296311 w 470469"/>
                    <a:gd name="connsiteY16" fmla="*/ 66854 h 240639"/>
                    <a:gd name="connsiteX17" fmla="*/ 292274 w 470469"/>
                    <a:gd name="connsiteY17" fmla="*/ 61526 h 240639"/>
                    <a:gd name="connsiteX18" fmla="*/ 210472 w 470469"/>
                    <a:gd name="connsiteY18" fmla="*/ 20912 h 240639"/>
                    <a:gd name="connsiteX19" fmla="*/ 116742 w 470469"/>
                    <a:gd name="connsiteY19" fmla="*/ 81592 h 240639"/>
                    <a:gd name="connsiteX20" fmla="*/ 113314 w 470469"/>
                    <a:gd name="connsiteY20" fmla="*/ 89357 h 240639"/>
                    <a:gd name="connsiteX21" fmla="*/ 105004 w 470469"/>
                    <a:gd name="connsiteY21" fmla="*/ 87593 h 240639"/>
                    <a:gd name="connsiteX22" fmla="*/ 90330 w 470469"/>
                    <a:gd name="connsiteY22" fmla="*/ 86011 h 240639"/>
                    <a:gd name="connsiteX23" fmla="*/ 20912 w 470469"/>
                    <a:gd name="connsiteY23" fmla="*/ 154629 h 240639"/>
                    <a:gd name="connsiteX24" fmla="*/ 68381 w 470469"/>
                    <a:gd name="connsiteY24" fmla="*/ 219728 h 240639"/>
                    <a:gd name="connsiteX25" fmla="*/ 98985 w 470469"/>
                    <a:gd name="connsiteY25" fmla="*/ 219728 h 240639"/>
                    <a:gd name="connsiteX26" fmla="*/ 98985 w 470469"/>
                    <a:gd name="connsiteY26" fmla="*/ 240639 h 240639"/>
                    <a:gd name="connsiteX27" fmla="*/ 65208 w 470469"/>
                    <a:gd name="connsiteY27" fmla="*/ 240639 h 240639"/>
                    <a:gd name="connsiteX28" fmla="*/ 63717 w 470469"/>
                    <a:gd name="connsiteY28" fmla="*/ 240185 h 240639"/>
                    <a:gd name="connsiteX29" fmla="*/ 18048 w 470469"/>
                    <a:gd name="connsiteY29" fmla="*/ 208317 h 240639"/>
                    <a:gd name="connsiteX30" fmla="*/ 0 w 470469"/>
                    <a:gd name="connsiteY30" fmla="*/ 154629 h 240639"/>
                    <a:gd name="connsiteX31" fmla="*/ 90330 w 470469"/>
                    <a:gd name="connsiteY31" fmla="*/ 65099 h 240639"/>
                    <a:gd name="connsiteX32" fmla="*/ 101177 w 470469"/>
                    <a:gd name="connsiteY32" fmla="*/ 65772 h 240639"/>
                    <a:gd name="connsiteX33" fmla="*/ 210472 w 470469"/>
                    <a:gd name="connsiteY33" fmla="*/ 0 h 240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70469" h="240639">
                      <a:moveTo>
                        <a:pt x="210472" y="0"/>
                      </a:moveTo>
                      <a:cubicBezTo>
                        <a:pt x="247286" y="0"/>
                        <a:pt x="281327" y="15875"/>
                        <a:pt x="304839" y="43778"/>
                      </a:cubicBezTo>
                      <a:cubicBezTo>
                        <a:pt x="310140" y="42942"/>
                        <a:pt x="315395" y="42524"/>
                        <a:pt x="320550" y="42524"/>
                      </a:cubicBezTo>
                      <a:cubicBezTo>
                        <a:pt x="358128" y="42524"/>
                        <a:pt x="392777" y="63381"/>
                        <a:pt x="410343" y="96103"/>
                      </a:cubicBezTo>
                      <a:cubicBezTo>
                        <a:pt x="444993" y="103213"/>
                        <a:pt x="470469" y="133735"/>
                        <a:pt x="470469" y="169312"/>
                      </a:cubicBezTo>
                      <a:cubicBezTo>
                        <a:pt x="470469" y="201262"/>
                        <a:pt x="449985" y="229702"/>
                        <a:pt x="419499" y="240076"/>
                      </a:cubicBezTo>
                      <a:lnTo>
                        <a:pt x="417862" y="240639"/>
                      </a:lnTo>
                      <a:lnTo>
                        <a:pt x="360981" y="240639"/>
                      </a:lnTo>
                      <a:lnTo>
                        <a:pt x="360981" y="219728"/>
                      </a:lnTo>
                      <a:lnTo>
                        <a:pt x="414326" y="219728"/>
                      </a:lnTo>
                      <a:cubicBezTo>
                        <a:pt x="435465" y="211818"/>
                        <a:pt x="449557" y="191761"/>
                        <a:pt x="449557" y="169312"/>
                      </a:cubicBezTo>
                      <a:cubicBezTo>
                        <a:pt x="449557" y="142327"/>
                        <a:pt x="429137" y="119379"/>
                        <a:pt x="402051" y="115915"/>
                      </a:cubicBezTo>
                      <a:lnTo>
                        <a:pt x="396342" y="115178"/>
                      </a:lnTo>
                      <a:lnTo>
                        <a:pt x="393905" y="109959"/>
                      </a:lnTo>
                      <a:cubicBezTo>
                        <a:pt x="380712" y="81701"/>
                        <a:pt x="351918" y="63435"/>
                        <a:pt x="320550" y="63435"/>
                      </a:cubicBezTo>
                      <a:cubicBezTo>
                        <a:pt x="314722" y="63435"/>
                        <a:pt x="308930" y="64081"/>
                        <a:pt x="302839" y="65417"/>
                      </a:cubicBezTo>
                      <a:lnTo>
                        <a:pt x="296311" y="66854"/>
                      </a:lnTo>
                      <a:lnTo>
                        <a:pt x="292274" y="61526"/>
                      </a:lnTo>
                      <a:cubicBezTo>
                        <a:pt x="272698" y="35714"/>
                        <a:pt x="242886" y="20912"/>
                        <a:pt x="210472" y="20912"/>
                      </a:cubicBezTo>
                      <a:cubicBezTo>
                        <a:pt x="169849" y="20912"/>
                        <a:pt x="133053" y="44733"/>
                        <a:pt x="116742" y="81592"/>
                      </a:cubicBezTo>
                      <a:lnTo>
                        <a:pt x="113314" y="89357"/>
                      </a:lnTo>
                      <a:lnTo>
                        <a:pt x="105004" y="87593"/>
                      </a:lnTo>
                      <a:cubicBezTo>
                        <a:pt x="100095" y="86547"/>
                        <a:pt x="95158" y="86011"/>
                        <a:pt x="90330" y="86011"/>
                      </a:cubicBezTo>
                      <a:cubicBezTo>
                        <a:pt x="52052" y="86020"/>
                        <a:pt x="20912" y="116797"/>
                        <a:pt x="20912" y="154629"/>
                      </a:cubicBezTo>
                      <a:cubicBezTo>
                        <a:pt x="20912" y="184414"/>
                        <a:pt x="39923" y="210381"/>
                        <a:pt x="68381" y="219728"/>
                      </a:cubicBezTo>
                      <a:lnTo>
                        <a:pt x="98985" y="219728"/>
                      </a:lnTo>
                      <a:lnTo>
                        <a:pt x="98985" y="240639"/>
                      </a:lnTo>
                      <a:lnTo>
                        <a:pt x="65208" y="240639"/>
                      </a:lnTo>
                      <a:lnTo>
                        <a:pt x="63717" y="240185"/>
                      </a:lnTo>
                      <a:cubicBezTo>
                        <a:pt x="45660" y="234675"/>
                        <a:pt x="29440" y="223355"/>
                        <a:pt x="18048" y="208317"/>
                      </a:cubicBezTo>
                      <a:cubicBezTo>
                        <a:pt x="6237" y="192724"/>
                        <a:pt x="0" y="174158"/>
                        <a:pt x="0" y="154629"/>
                      </a:cubicBezTo>
                      <a:cubicBezTo>
                        <a:pt x="0" y="105268"/>
                        <a:pt x="40523" y="65108"/>
                        <a:pt x="90330" y="65099"/>
                      </a:cubicBezTo>
                      <a:cubicBezTo>
                        <a:pt x="93921" y="65099"/>
                        <a:pt x="97549" y="65326"/>
                        <a:pt x="101177" y="65772"/>
                      </a:cubicBezTo>
                      <a:cubicBezTo>
                        <a:pt x="122288" y="25558"/>
                        <a:pt x="164330" y="0"/>
                        <a:pt x="210472" y="0"/>
                      </a:cubicBezTo>
                      <a:close/>
                    </a:path>
                  </a:pathLst>
                </a:custGeom>
                <a:solidFill>
                  <a:srgbClr val="FFFFFF">
                    <a:lumMod val="85000"/>
                  </a:srgb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40" name="Freeform: Shape 39">
                  <a:extLst>
                    <a:ext uri="{FF2B5EF4-FFF2-40B4-BE49-F238E27FC236}">
                      <a16:creationId xmlns:a16="http://schemas.microsoft.com/office/drawing/2014/main" id="{7923C74A-DAF4-8C26-DA37-03644CFA699A}"/>
                    </a:ext>
                  </a:extLst>
                </p:cNvPr>
                <p:cNvSpPr/>
                <p:nvPr/>
              </p:nvSpPr>
              <p:spPr>
                <a:xfrm>
                  <a:off x="4878530" y="1574038"/>
                  <a:ext cx="30858" cy="30858"/>
                </a:xfrm>
                <a:custGeom>
                  <a:avLst/>
                  <a:gdLst>
                    <a:gd name="connsiteX0" fmla="*/ 0 w 30858"/>
                    <a:gd name="connsiteY0" fmla="*/ 0 h 30858"/>
                    <a:gd name="connsiteX1" fmla="*/ 30858 w 30858"/>
                    <a:gd name="connsiteY1" fmla="*/ 0 h 30858"/>
                    <a:gd name="connsiteX2" fmla="*/ 30858 w 30858"/>
                    <a:gd name="connsiteY2" fmla="*/ 30858 h 30858"/>
                    <a:gd name="connsiteX3" fmla="*/ 0 w 30858"/>
                    <a:gd name="connsiteY3" fmla="*/ 30858 h 30858"/>
                  </a:gdLst>
                  <a:ahLst/>
                  <a:cxnLst>
                    <a:cxn ang="0">
                      <a:pos x="connsiteX0" y="connsiteY0"/>
                    </a:cxn>
                    <a:cxn ang="0">
                      <a:pos x="connsiteX1" y="connsiteY1"/>
                    </a:cxn>
                    <a:cxn ang="0">
                      <a:pos x="connsiteX2" y="connsiteY2"/>
                    </a:cxn>
                    <a:cxn ang="0">
                      <a:pos x="connsiteX3" y="connsiteY3"/>
                    </a:cxn>
                  </a:cxnLst>
                  <a:rect l="l" t="t" r="r" b="b"/>
                  <a:pathLst>
                    <a:path w="30858" h="30858">
                      <a:moveTo>
                        <a:pt x="0" y="0"/>
                      </a:moveTo>
                      <a:lnTo>
                        <a:pt x="30858" y="0"/>
                      </a:lnTo>
                      <a:lnTo>
                        <a:pt x="30858" y="30858"/>
                      </a:lnTo>
                      <a:lnTo>
                        <a:pt x="0" y="30858"/>
                      </a:lnTo>
                      <a:close/>
                    </a:path>
                  </a:pathLst>
                </a:custGeom>
                <a:solidFill>
                  <a:srgbClr val="0A69B3"/>
                </a:solidFill>
                <a:ln w="9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41" name="Freeform: Shape 40">
                  <a:extLst>
                    <a:ext uri="{FF2B5EF4-FFF2-40B4-BE49-F238E27FC236}">
                      <a16:creationId xmlns:a16="http://schemas.microsoft.com/office/drawing/2014/main" id="{2160C75A-3613-C67A-0179-7E445C38A971}"/>
                    </a:ext>
                  </a:extLst>
                </p:cNvPr>
                <p:cNvSpPr/>
                <p:nvPr/>
              </p:nvSpPr>
              <p:spPr>
                <a:xfrm>
                  <a:off x="4757706" y="1579558"/>
                  <a:ext cx="109914" cy="20911"/>
                </a:xfrm>
                <a:custGeom>
                  <a:avLst/>
                  <a:gdLst>
                    <a:gd name="connsiteX0" fmla="*/ 0 w 109914"/>
                    <a:gd name="connsiteY0" fmla="*/ 0 h 20911"/>
                    <a:gd name="connsiteX1" fmla="*/ 109914 w 109914"/>
                    <a:gd name="connsiteY1" fmla="*/ 0 h 20911"/>
                    <a:gd name="connsiteX2" fmla="*/ 109914 w 109914"/>
                    <a:gd name="connsiteY2" fmla="*/ 20911 h 20911"/>
                    <a:gd name="connsiteX3" fmla="*/ 0 w 109914"/>
                    <a:gd name="connsiteY3" fmla="*/ 20911 h 20911"/>
                  </a:gdLst>
                  <a:ahLst/>
                  <a:cxnLst>
                    <a:cxn ang="0">
                      <a:pos x="connsiteX0" y="connsiteY0"/>
                    </a:cxn>
                    <a:cxn ang="0">
                      <a:pos x="connsiteX1" y="connsiteY1"/>
                    </a:cxn>
                    <a:cxn ang="0">
                      <a:pos x="connsiteX2" y="connsiteY2"/>
                    </a:cxn>
                    <a:cxn ang="0">
                      <a:pos x="connsiteX3" y="connsiteY3"/>
                    </a:cxn>
                  </a:cxnLst>
                  <a:rect l="l" t="t" r="r" b="b"/>
                  <a:pathLst>
                    <a:path w="109914" h="20911">
                      <a:moveTo>
                        <a:pt x="0" y="0"/>
                      </a:moveTo>
                      <a:lnTo>
                        <a:pt x="109914" y="0"/>
                      </a:lnTo>
                      <a:lnTo>
                        <a:pt x="109914" y="20911"/>
                      </a:lnTo>
                      <a:lnTo>
                        <a:pt x="0" y="20911"/>
                      </a:lnTo>
                      <a:close/>
                    </a:path>
                  </a:pathLst>
                </a:custGeom>
                <a:gradFill flip="none" rotWithShape="1">
                  <a:gsLst>
                    <a:gs pos="8000">
                      <a:srgbClr val="FFFFFF"/>
                    </a:gs>
                    <a:gs pos="41000">
                      <a:srgbClr val="FFFFFF">
                        <a:lumMod val="85000"/>
                      </a:srgbClr>
                    </a:gs>
                  </a:gsLst>
                  <a:lin ang="10800000" scaled="0"/>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sp>
              <p:nvSpPr>
                <p:cNvPr id="42" name="Freeform: Shape 41">
                  <a:extLst>
                    <a:ext uri="{FF2B5EF4-FFF2-40B4-BE49-F238E27FC236}">
                      <a16:creationId xmlns:a16="http://schemas.microsoft.com/office/drawing/2014/main" id="{C3FD44E8-8E2F-796E-AA19-C1BFFBB2DC60}"/>
                    </a:ext>
                  </a:extLst>
                </p:cNvPr>
                <p:cNvSpPr/>
                <p:nvPr/>
              </p:nvSpPr>
              <p:spPr>
                <a:xfrm>
                  <a:off x="4920227" y="1579558"/>
                  <a:ext cx="99475" cy="20911"/>
                </a:xfrm>
                <a:custGeom>
                  <a:avLst/>
                  <a:gdLst>
                    <a:gd name="connsiteX0" fmla="*/ 0 w 99475"/>
                    <a:gd name="connsiteY0" fmla="*/ 0 h 20911"/>
                    <a:gd name="connsiteX1" fmla="*/ 99475 w 99475"/>
                    <a:gd name="connsiteY1" fmla="*/ 0 h 20911"/>
                    <a:gd name="connsiteX2" fmla="*/ 99475 w 99475"/>
                    <a:gd name="connsiteY2" fmla="*/ 20911 h 20911"/>
                    <a:gd name="connsiteX3" fmla="*/ 0 w 99475"/>
                    <a:gd name="connsiteY3" fmla="*/ 20911 h 20911"/>
                  </a:gdLst>
                  <a:ahLst/>
                  <a:cxnLst>
                    <a:cxn ang="0">
                      <a:pos x="connsiteX0" y="connsiteY0"/>
                    </a:cxn>
                    <a:cxn ang="0">
                      <a:pos x="connsiteX1" y="connsiteY1"/>
                    </a:cxn>
                    <a:cxn ang="0">
                      <a:pos x="connsiteX2" y="connsiteY2"/>
                    </a:cxn>
                    <a:cxn ang="0">
                      <a:pos x="connsiteX3" y="connsiteY3"/>
                    </a:cxn>
                  </a:cxnLst>
                  <a:rect l="l" t="t" r="r" b="b"/>
                  <a:pathLst>
                    <a:path w="99475" h="20911">
                      <a:moveTo>
                        <a:pt x="0" y="0"/>
                      </a:moveTo>
                      <a:lnTo>
                        <a:pt x="99475" y="0"/>
                      </a:lnTo>
                      <a:lnTo>
                        <a:pt x="99475" y="20911"/>
                      </a:lnTo>
                      <a:lnTo>
                        <a:pt x="0" y="20911"/>
                      </a:lnTo>
                      <a:close/>
                    </a:path>
                  </a:pathLst>
                </a:custGeom>
                <a:gradFill flip="none" rotWithShape="1">
                  <a:gsLst>
                    <a:gs pos="9000">
                      <a:srgbClr val="FFFFFF"/>
                    </a:gs>
                    <a:gs pos="54000">
                      <a:srgbClr val="FFFFFF">
                        <a:lumMod val="85000"/>
                      </a:srgbClr>
                    </a:gs>
                  </a:gsLst>
                  <a:lin ang="0" scaled="0"/>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IntelOne Text"/>
                    <a:sym typeface="Helvetica Neue"/>
                  </a:endParaRPr>
                </a:p>
              </p:txBody>
            </p:sp>
          </p:grpSp>
        </p:grpSp>
      </p:grpSp>
      <p:grpSp>
        <p:nvGrpSpPr>
          <p:cNvPr id="370" name="Group 369">
            <a:extLst>
              <a:ext uri="{FF2B5EF4-FFF2-40B4-BE49-F238E27FC236}">
                <a16:creationId xmlns:a16="http://schemas.microsoft.com/office/drawing/2014/main" id="{556E2BDE-B862-3DCF-174B-67D4224432C5}"/>
              </a:ext>
              <a:ext uri="{C183D7F6-B498-43B3-948B-1728B52AA6E4}">
                <adec:decorative xmlns:adec="http://schemas.microsoft.com/office/drawing/2017/decorative" val="1"/>
              </a:ext>
            </a:extLst>
          </p:cNvPr>
          <p:cNvGrpSpPr/>
          <p:nvPr/>
        </p:nvGrpSpPr>
        <p:grpSpPr>
          <a:xfrm>
            <a:off x="187966" y="5182068"/>
            <a:ext cx="541586" cy="455615"/>
            <a:chOff x="3667125" y="1485900"/>
            <a:chExt cx="4838708" cy="3882294"/>
          </a:xfrm>
        </p:grpSpPr>
        <p:sp>
          <p:nvSpPr>
            <p:cNvPr id="371" name="Freeform: Shape 370">
              <a:extLst>
                <a:ext uri="{FF2B5EF4-FFF2-40B4-BE49-F238E27FC236}">
                  <a16:creationId xmlns:a16="http://schemas.microsoft.com/office/drawing/2014/main" id="{82A924D3-45F4-089C-C797-715C490A184E}"/>
                </a:ext>
              </a:extLst>
            </p:cNvPr>
            <p:cNvSpPr/>
            <p:nvPr/>
          </p:nvSpPr>
          <p:spPr>
            <a:xfrm>
              <a:off x="3667125" y="2512599"/>
              <a:ext cx="317944" cy="317944"/>
            </a:xfrm>
            <a:custGeom>
              <a:avLst/>
              <a:gdLst>
                <a:gd name="connsiteX0" fmla="*/ 0 w 317944"/>
                <a:gd name="connsiteY0" fmla="*/ 0 h 317944"/>
                <a:gd name="connsiteX1" fmla="*/ 317945 w 317944"/>
                <a:gd name="connsiteY1" fmla="*/ 0 h 317944"/>
                <a:gd name="connsiteX2" fmla="*/ 317945 w 317944"/>
                <a:gd name="connsiteY2" fmla="*/ 317944 h 317944"/>
                <a:gd name="connsiteX3" fmla="*/ 0 w 317944"/>
                <a:gd name="connsiteY3" fmla="*/ 317944 h 317944"/>
              </a:gdLst>
              <a:ahLst/>
              <a:cxnLst>
                <a:cxn ang="0">
                  <a:pos x="connsiteX0" y="connsiteY0"/>
                </a:cxn>
                <a:cxn ang="0">
                  <a:pos x="connsiteX1" y="connsiteY1"/>
                </a:cxn>
                <a:cxn ang="0">
                  <a:pos x="connsiteX2" y="connsiteY2"/>
                </a:cxn>
                <a:cxn ang="0">
                  <a:pos x="connsiteX3" y="connsiteY3"/>
                </a:cxn>
              </a:cxnLst>
              <a:rect l="l" t="t" r="r" b="b"/>
              <a:pathLst>
                <a:path w="317944" h="317944">
                  <a:moveTo>
                    <a:pt x="0" y="0"/>
                  </a:moveTo>
                  <a:lnTo>
                    <a:pt x="317945" y="0"/>
                  </a:lnTo>
                  <a:lnTo>
                    <a:pt x="317945" y="317944"/>
                  </a:lnTo>
                  <a:lnTo>
                    <a:pt x="0" y="317944"/>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a:sym typeface="Helvetica Neue"/>
              </a:endParaRPr>
            </a:p>
          </p:txBody>
        </p:sp>
        <p:sp>
          <p:nvSpPr>
            <p:cNvPr id="372" name="Freeform: Shape 371">
              <a:extLst>
                <a:ext uri="{FF2B5EF4-FFF2-40B4-BE49-F238E27FC236}">
                  <a16:creationId xmlns:a16="http://schemas.microsoft.com/office/drawing/2014/main" id="{7C1701E7-B0C7-B14C-17B0-7C196C6CA6F3}"/>
                </a:ext>
              </a:extLst>
            </p:cNvPr>
            <p:cNvSpPr/>
            <p:nvPr/>
          </p:nvSpPr>
          <p:spPr>
            <a:xfrm>
              <a:off x="4851619" y="2562034"/>
              <a:ext cx="1920070" cy="1875663"/>
            </a:xfrm>
            <a:custGeom>
              <a:avLst/>
              <a:gdLst>
                <a:gd name="connsiteX0" fmla="*/ 0 w 1920070"/>
                <a:gd name="connsiteY0" fmla="*/ 0 h 1875663"/>
                <a:gd name="connsiteX1" fmla="*/ 411133 w 1920070"/>
                <a:gd name="connsiteY1" fmla="*/ 0 h 1875663"/>
                <a:gd name="connsiteX2" fmla="*/ 1804450 w 1920070"/>
                <a:gd name="connsiteY2" fmla="*/ 1283303 h 1875663"/>
                <a:gd name="connsiteX3" fmla="*/ 1828739 w 1920070"/>
                <a:gd name="connsiteY3" fmla="*/ 1875568 h 1875663"/>
                <a:gd name="connsiteX4" fmla="*/ 1828739 w 1920070"/>
                <a:gd name="connsiteY4" fmla="*/ 1875663 h 1875663"/>
                <a:gd name="connsiteX5" fmla="*/ 1631857 w 1920070"/>
                <a:gd name="connsiteY5" fmla="*/ 1779651 h 1875663"/>
                <a:gd name="connsiteX6" fmla="*/ 1656241 w 1920070"/>
                <a:gd name="connsiteY6" fmla="*/ 1444657 h 1875663"/>
                <a:gd name="connsiteX7" fmla="*/ 325599 w 1920070"/>
                <a:gd name="connsiteY7" fmla="*/ 219075 h 1875663"/>
                <a:gd name="connsiteX8" fmla="*/ 0 w 1920070"/>
                <a:gd name="connsiteY8" fmla="*/ 219075 h 187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0070" h="1875663">
                  <a:moveTo>
                    <a:pt x="0" y="0"/>
                  </a:moveTo>
                  <a:lnTo>
                    <a:pt x="411133" y="0"/>
                  </a:lnTo>
                  <a:lnTo>
                    <a:pt x="1804450" y="1283303"/>
                  </a:lnTo>
                  <a:cubicBezTo>
                    <a:pt x="2020668" y="1481900"/>
                    <a:pt x="1876173" y="1778222"/>
                    <a:pt x="1828739" y="1875568"/>
                  </a:cubicBezTo>
                  <a:lnTo>
                    <a:pt x="1828739" y="1875663"/>
                  </a:lnTo>
                  <a:lnTo>
                    <a:pt x="1631857" y="1779651"/>
                  </a:lnTo>
                  <a:cubicBezTo>
                    <a:pt x="1752158" y="1532858"/>
                    <a:pt x="1684911" y="1471041"/>
                    <a:pt x="1656241" y="1444657"/>
                  </a:cubicBezTo>
                  <a:lnTo>
                    <a:pt x="325599" y="219075"/>
                  </a:lnTo>
                  <a:lnTo>
                    <a:pt x="0" y="219075"/>
                  </a:lnTo>
                  <a:close/>
                </a:path>
              </a:pathLst>
            </a:custGeom>
            <a:solidFill>
              <a:srgbClr val="DCDCDC"/>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a:sym typeface="Helvetica Neue"/>
              </a:endParaRPr>
            </a:p>
          </p:txBody>
        </p:sp>
        <p:sp>
          <p:nvSpPr>
            <p:cNvPr id="373" name="Freeform: Shape 372">
              <a:extLst>
                <a:ext uri="{FF2B5EF4-FFF2-40B4-BE49-F238E27FC236}">
                  <a16:creationId xmlns:a16="http://schemas.microsoft.com/office/drawing/2014/main" id="{D16DEAEE-0A71-2CEB-2824-1F7F9C8CE36D}"/>
                </a:ext>
              </a:extLst>
            </p:cNvPr>
            <p:cNvSpPr/>
            <p:nvPr/>
          </p:nvSpPr>
          <p:spPr>
            <a:xfrm>
              <a:off x="3681698" y="3646741"/>
              <a:ext cx="4744446" cy="1721453"/>
            </a:xfrm>
            <a:custGeom>
              <a:avLst/>
              <a:gdLst>
                <a:gd name="connsiteX0" fmla="*/ 4378833 w 4744446"/>
                <a:gd name="connsiteY0" fmla="*/ 1721453 h 1721453"/>
                <a:gd name="connsiteX1" fmla="*/ 1915954 w 4744446"/>
                <a:gd name="connsiteY1" fmla="*/ 1721453 h 1721453"/>
                <a:gd name="connsiteX2" fmla="*/ 657892 w 4744446"/>
                <a:gd name="connsiteY2" fmla="*/ 748665 h 1721453"/>
                <a:gd name="connsiteX3" fmla="*/ 0 w 4744446"/>
                <a:gd name="connsiteY3" fmla="*/ 748665 h 1721453"/>
                <a:gd name="connsiteX4" fmla="*/ 0 w 4744446"/>
                <a:gd name="connsiteY4" fmla="*/ 529590 h 1721453"/>
                <a:gd name="connsiteX5" fmla="*/ 732663 w 4744446"/>
                <a:gd name="connsiteY5" fmla="*/ 529590 h 1721453"/>
                <a:gd name="connsiteX6" fmla="*/ 1990725 w 4744446"/>
                <a:gd name="connsiteY6" fmla="*/ 1502378 h 1721453"/>
                <a:gd name="connsiteX7" fmla="*/ 4378738 w 4744446"/>
                <a:gd name="connsiteY7" fmla="*/ 1502378 h 1721453"/>
                <a:gd name="connsiteX8" fmla="*/ 4523042 w 4744446"/>
                <a:gd name="connsiteY8" fmla="*/ 1300067 h 1721453"/>
                <a:gd name="connsiteX9" fmla="*/ 4359879 w 4744446"/>
                <a:gd name="connsiteY9" fmla="*/ 1052036 h 1721453"/>
                <a:gd name="connsiteX10" fmla="*/ 2412873 w 4744446"/>
                <a:gd name="connsiteY10" fmla="*/ 848773 h 1721453"/>
                <a:gd name="connsiteX11" fmla="*/ 1463993 w 4744446"/>
                <a:gd name="connsiteY11" fmla="*/ 178975 h 1721453"/>
                <a:gd name="connsiteX12" fmla="*/ 1590294 w 4744446"/>
                <a:gd name="connsiteY12" fmla="*/ 0 h 1721453"/>
                <a:gd name="connsiteX13" fmla="*/ 2492502 w 4744446"/>
                <a:gd name="connsiteY13" fmla="*/ 636746 h 1721453"/>
                <a:gd name="connsiteX14" fmla="*/ 4397121 w 4744446"/>
                <a:gd name="connsiteY14" fmla="*/ 835533 h 1721453"/>
                <a:gd name="connsiteX15" fmla="*/ 4403979 w 4744446"/>
                <a:gd name="connsiteY15" fmla="*/ 837152 h 1721453"/>
                <a:gd name="connsiteX16" fmla="*/ 4740688 w 4744446"/>
                <a:gd name="connsiteY16" fmla="*/ 1325309 h 1721453"/>
                <a:gd name="connsiteX17" fmla="*/ 4378738 w 4744446"/>
                <a:gd name="connsiteY17" fmla="*/ 1721358 h 1721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44446" h="1721453">
                  <a:moveTo>
                    <a:pt x="4378833" y="1721453"/>
                  </a:moveTo>
                  <a:lnTo>
                    <a:pt x="1915954" y="1721453"/>
                  </a:lnTo>
                  <a:lnTo>
                    <a:pt x="657892" y="748665"/>
                  </a:lnTo>
                  <a:lnTo>
                    <a:pt x="0" y="748665"/>
                  </a:lnTo>
                  <a:lnTo>
                    <a:pt x="0" y="529590"/>
                  </a:lnTo>
                  <a:lnTo>
                    <a:pt x="732663" y="529590"/>
                  </a:lnTo>
                  <a:lnTo>
                    <a:pt x="1990725" y="1502378"/>
                  </a:lnTo>
                  <a:lnTo>
                    <a:pt x="4378738" y="1502378"/>
                  </a:lnTo>
                  <a:cubicBezTo>
                    <a:pt x="4443032" y="1502378"/>
                    <a:pt x="4510469" y="1407890"/>
                    <a:pt x="4523042" y="1300067"/>
                  </a:cubicBezTo>
                  <a:cubicBezTo>
                    <a:pt x="4530090" y="1239488"/>
                    <a:pt x="4527995" y="1095280"/>
                    <a:pt x="4359879" y="1052036"/>
                  </a:cubicBezTo>
                  <a:lnTo>
                    <a:pt x="2412873" y="848773"/>
                  </a:lnTo>
                  <a:lnTo>
                    <a:pt x="1463993" y="178975"/>
                  </a:lnTo>
                  <a:lnTo>
                    <a:pt x="1590294" y="0"/>
                  </a:lnTo>
                  <a:lnTo>
                    <a:pt x="2492502" y="636746"/>
                  </a:lnTo>
                  <a:lnTo>
                    <a:pt x="4397121" y="835533"/>
                  </a:lnTo>
                  <a:lnTo>
                    <a:pt x="4403979" y="837152"/>
                  </a:lnTo>
                  <a:cubicBezTo>
                    <a:pt x="4636675" y="892111"/>
                    <a:pt x="4768882" y="1083755"/>
                    <a:pt x="4740688" y="1325309"/>
                  </a:cubicBezTo>
                  <a:cubicBezTo>
                    <a:pt x="4714399" y="1551051"/>
                    <a:pt x="4558761" y="1721358"/>
                    <a:pt x="4378738" y="1721358"/>
                  </a:cubicBezTo>
                  <a:close/>
                </a:path>
              </a:pathLst>
            </a:custGeom>
            <a:solidFill>
              <a:srgbClr val="DCDCDC"/>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a:sym typeface="Helvetica Neue"/>
              </a:endParaRPr>
            </a:p>
          </p:txBody>
        </p:sp>
        <p:sp>
          <p:nvSpPr>
            <p:cNvPr id="374" name="Freeform: Shape 373">
              <a:extLst>
                <a:ext uri="{FF2B5EF4-FFF2-40B4-BE49-F238E27FC236}">
                  <a16:creationId xmlns:a16="http://schemas.microsoft.com/office/drawing/2014/main" id="{BD680A1D-3F28-B965-096F-C444757F01BF}"/>
                </a:ext>
              </a:extLst>
            </p:cNvPr>
            <p:cNvSpPr/>
            <p:nvPr/>
          </p:nvSpPr>
          <p:spPr>
            <a:xfrm>
              <a:off x="6560724" y="1849850"/>
              <a:ext cx="1707451" cy="1707451"/>
            </a:xfrm>
            <a:custGeom>
              <a:avLst/>
              <a:gdLst>
                <a:gd name="connsiteX0" fmla="*/ 853726 w 1707451"/>
                <a:gd name="connsiteY0" fmla="*/ 1707452 h 1707451"/>
                <a:gd name="connsiteX1" fmla="*/ 0 w 1707451"/>
                <a:gd name="connsiteY1" fmla="*/ 853726 h 1707451"/>
                <a:gd name="connsiteX2" fmla="*/ 853726 w 1707451"/>
                <a:gd name="connsiteY2" fmla="*/ 0 h 1707451"/>
                <a:gd name="connsiteX3" fmla="*/ 1707451 w 1707451"/>
                <a:gd name="connsiteY3" fmla="*/ 853726 h 1707451"/>
                <a:gd name="connsiteX4" fmla="*/ 853726 w 1707451"/>
                <a:gd name="connsiteY4" fmla="*/ 1707452 h 1707451"/>
                <a:gd name="connsiteX5" fmla="*/ 853726 w 1707451"/>
                <a:gd name="connsiteY5" fmla="*/ 218980 h 1707451"/>
                <a:gd name="connsiteX6" fmla="*/ 219075 w 1707451"/>
                <a:gd name="connsiteY6" fmla="*/ 853631 h 1707451"/>
                <a:gd name="connsiteX7" fmla="*/ 853726 w 1707451"/>
                <a:gd name="connsiteY7" fmla="*/ 1488281 h 1707451"/>
                <a:gd name="connsiteX8" fmla="*/ 1488376 w 1707451"/>
                <a:gd name="connsiteY8" fmla="*/ 853631 h 1707451"/>
                <a:gd name="connsiteX9" fmla="*/ 853726 w 1707451"/>
                <a:gd name="connsiteY9" fmla="*/ 218980 h 170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07451" h="1707451">
                  <a:moveTo>
                    <a:pt x="853726" y="1707452"/>
                  </a:moveTo>
                  <a:cubicBezTo>
                    <a:pt x="383000" y="1707452"/>
                    <a:pt x="0" y="1324451"/>
                    <a:pt x="0" y="853726"/>
                  </a:cubicBezTo>
                  <a:cubicBezTo>
                    <a:pt x="0" y="383000"/>
                    <a:pt x="383000" y="0"/>
                    <a:pt x="853726" y="0"/>
                  </a:cubicBezTo>
                  <a:cubicBezTo>
                    <a:pt x="1324451" y="0"/>
                    <a:pt x="1707451" y="383000"/>
                    <a:pt x="1707451" y="853726"/>
                  </a:cubicBezTo>
                  <a:cubicBezTo>
                    <a:pt x="1707451" y="1324451"/>
                    <a:pt x="1324451" y="1707452"/>
                    <a:pt x="853726" y="1707452"/>
                  </a:cubicBezTo>
                  <a:close/>
                  <a:moveTo>
                    <a:pt x="853726" y="218980"/>
                  </a:moveTo>
                  <a:cubicBezTo>
                    <a:pt x="503777" y="218980"/>
                    <a:pt x="219075" y="503682"/>
                    <a:pt x="219075" y="853631"/>
                  </a:cubicBezTo>
                  <a:cubicBezTo>
                    <a:pt x="219075" y="1203579"/>
                    <a:pt x="503777" y="1488281"/>
                    <a:pt x="853726" y="1488281"/>
                  </a:cubicBezTo>
                  <a:cubicBezTo>
                    <a:pt x="1203674" y="1488281"/>
                    <a:pt x="1488376" y="1203579"/>
                    <a:pt x="1488376" y="853631"/>
                  </a:cubicBezTo>
                  <a:cubicBezTo>
                    <a:pt x="1488376" y="503682"/>
                    <a:pt x="1203674" y="218980"/>
                    <a:pt x="853726" y="218980"/>
                  </a:cubicBez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a:sym typeface="Helvetica Neue"/>
              </a:endParaRPr>
            </a:p>
          </p:txBody>
        </p:sp>
        <p:grpSp>
          <p:nvGrpSpPr>
            <p:cNvPr id="375" name="Graphic 471">
              <a:extLst>
                <a:ext uri="{FF2B5EF4-FFF2-40B4-BE49-F238E27FC236}">
                  <a16:creationId xmlns:a16="http://schemas.microsoft.com/office/drawing/2014/main" id="{172B37D2-F09D-E18A-5C58-43869568AD19}"/>
                </a:ext>
              </a:extLst>
            </p:cNvPr>
            <p:cNvGrpSpPr/>
            <p:nvPr/>
          </p:nvGrpSpPr>
          <p:grpSpPr>
            <a:xfrm>
              <a:off x="7304913" y="1485900"/>
              <a:ext cx="219075" cy="2433732"/>
              <a:chOff x="7304913" y="1485900"/>
              <a:chExt cx="219075" cy="2433732"/>
            </a:xfrm>
            <a:solidFill>
              <a:srgbClr val="0A69B3"/>
            </a:solidFill>
          </p:grpSpPr>
          <p:sp>
            <p:nvSpPr>
              <p:cNvPr id="383" name="Freeform: Shape 382">
                <a:extLst>
                  <a:ext uri="{FF2B5EF4-FFF2-40B4-BE49-F238E27FC236}">
                    <a16:creationId xmlns:a16="http://schemas.microsoft.com/office/drawing/2014/main" id="{7F3F03BB-CD74-AB67-36B0-5764A0FDC8C0}"/>
                  </a:ext>
                </a:extLst>
              </p:cNvPr>
              <p:cNvSpPr/>
              <p:nvPr/>
            </p:nvSpPr>
            <p:spPr>
              <a:xfrm>
                <a:off x="7304913" y="1485900"/>
                <a:ext cx="219075" cy="473392"/>
              </a:xfrm>
              <a:custGeom>
                <a:avLst/>
                <a:gdLst>
                  <a:gd name="connsiteX0" fmla="*/ 0 w 219075"/>
                  <a:gd name="connsiteY0" fmla="*/ 0 h 473392"/>
                  <a:gd name="connsiteX1" fmla="*/ 219075 w 219075"/>
                  <a:gd name="connsiteY1" fmla="*/ 0 h 473392"/>
                  <a:gd name="connsiteX2" fmla="*/ 219075 w 219075"/>
                  <a:gd name="connsiteY2" fmla="*/ 473393 h 473392"/>
                  <a:gd name="connsiteX3" fmla="*/ 0 w 219075"/>
                  <a:gd name="connsiteY3" fmla="*/ 473393 h 473392"/>
                </a:gdLst>
                <a:ahLst/>
                <a:cxnLst>
                  <a:cxn ang="0">
                    <a:pos x="connsiteX0" y="connsiteY0"/>
                  </a:cxn>
                  <a:cxn ang="0">
                    <a:pos x="connsiteX1" y="connsiteY1"/>
                  </a:cxn>
                  <a:cxn ang="0">
                    <a:pos x="connsiteX2" y="connsiteY2"/>
                  </a:cxn>
                  <a:cxn ang="0">
                    <a:pos x="connsiteX3" y="connsiteY3"/>
                  </a:cxn>
                </a:cxnLst>
                <a:rect l="l" t="t" r="r" b="b"/>
                <a:pathLst>
                  <a:path w="219075" h="473392">
                    <a:moveTo>
                      <a:pt x="0" y="0"/>
                    </a:moveTo>
                    <a:lnTo>
                      <a:pt x="219075" y="0"/>
                    </a:lnTo>
                    <a:lnTo>
                      <a:pt x="219075" y="473393"/>
                    </a:lnTo>
                    <a:lnTo>
                      <a:pt x="0" y="473393"/>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a:sym typeface="Helvetica Neue"/>
                </a:endParaRPr>
              </a:p>
            </p:txBody>
          </p:sp>
          <p:sp>
            <p:nvSpPr>
              <p:cNvPr id="384" name="Freeform: Shape 383">
                <a:extLst>
                  <a:ext uri="{FF2B5EF4-FFF2-40B4-BE49-F238E27FC236}">
                    <a16:creationId xmlns:a16="http://schemas.microsoft.com/office/drawing/2014/main" id="{F8AEB38F-5720-AB91-F1F0-B59B8F580BA7}"/>
                  </a:ext>
                </a:extLst>
              </p:cNvPr>
              <p:cNvSpPr/>
              <p:nvPr/>
            </p:nvSpPr>
            <p:spPr>
              <a:xfrm>
                <a:off x="7304913" y="3446240"/>
                <a:ext cx="219075" cy="473392"/>
              </a:xfrm>
              <a:custGeom>
                <a:avLst/>
                <a:gdLst>
                  <a:gd name="connsiteX0" fmla="*/ 0 w 219075"/>
                  <a:gd name="connsiteY0" fmla="*/ 0 h 473392"/>
                  <a:gd name="connsiteX1" fmla="*/ 219075 w 219075"/>
                  <a:gd name="connsiteY1" fmla="*/ 0 h 473392"/>
                  <a:gd name="connsiteX2" fmla="*/ 219075 w 219075"/>
                  <a:gd name="connsiteY2" fmla="*/ 473392 h 473392"/>
                  <a:gd name="connsiteX3" fmla="*/ 0 w 219075"/>
                  <a:gd name="connsiteY3" fmla="*/ 473392 h 473392"/>
                </a:gdLst>
                <a:ahLst/>
                <a:cxnLst>
                  <a:cxn ang="0">
                    <a:pos x="connsiteX0" y="connsiteY0"/>
                  </a:cxn>
                  <a:cxn ang="0">
                    <a:pos x="connsiteX1" y="connsiteY1"/>
                  </a:cxn>
                  <a:cxn ang="0">
                    <a:pos x="connsiteX2" y="connsiteY2"/>
                  </a:cxn>
                  <a:cxn ang="0">
                    <a:pos x="connsiteX3" y="connsiteY3"/>
                  </a:cxn>
                </a:cxnLst>
                <a:rect l="l" t="t" r="r" b="b"/>
                <a:pathLst>
                  <a:path w="219075" h="473392">
                    <a:moveTo>
                      <a:pt x="0" y="0"/>
                    </a:moveTo>
                    <a:lnTo>
                      <a:pt x="219075" y="0"/>
                    </a:lnTo>
                    <a:lnTo>
                      <a:pt x="219075" y="473392"/>
                    </a:lnTo>
                    <a:lnTo>
                      <a:pt x="0" y="473392"/>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a:sym typeface="Helvetica Neue"/>
                </a:endParaRPr>
              </a:p>
            </p:txBody>
          </p:sp>
        </p:grpSp>
        <p:grpSp>
          <p:nvGrpSpPr>
            <p:cNvPr id="376" name="Graphic 471">
              <a:extLst>
                <a:ext uri="{FF2B5EF4-FFF2-40B4-BE49-F238E27FC236}">
                  <a16:creationId xmlns:a16="http://schemas.microsoft.com/office/drawing/2014/main" id="{E0F2B950-73F8-75F1-B529-C3BC640A58D1}"/>
                </a:ext>
              </a:extLst>
            </p:cNvPr>
            <p:cNvGrpSpPr/>
            <p:nvPr/>
          </p:nvGrpSpPr>
          <p:grpSpPr>
            <a:xfrm>
              <a:off x="6323201" y="2113432"/>
              <a:ext cx="2182632" cy="1179080"/>
              <a:chOff x="6323201" y="2113432"/>
              <a:chExt cx="2182632" cy="1179080"/>
            </a:xfrm>
            <a:solidFill>
              <a:srgbClr val="0A69B3"/>
            </a:solidFill>
          </p:grpSpPr>
          <p:sp>
            <p:nvSpPr>
              <p:cNvPr id="381" name="Freeform: Shape 380">
                <a:extLst>
                  <a:ext uri="{FF2B5EF4-FFF2-40B4-BE49-F238E27FC236}">
                    <a16:creationId xmlns:a16="http://schemas.microsoft.com/office/drawing/2014/main" id="{79785E35-6838-43EC-DD5A-E148660F0CB0}"/>
                  </a:ext>
                </a:extLst>
              </p:cNvPr>
              <p:cNvSpPr/>
              <p:nvPr/>
            </p:nvSpPr>
            <p:spPr>
              <a:xfrm rot="-1759201">
                <a:off x="8032441" y="2113432"/>
                <a:ext cx="473392" cy="219074"/>
              </a:xfrm>
              <a:custGeom>
                <a:avLst/>
                <a:gdLst>
                  <a:gd name="connsiteX0" fmla="*/ 0 w 473392"/>
                  <a:gd name="connsiteY0" fmla="*/ 0 h 219074"/>
                  <a:gd name="connsiteX1" fmla="*/ 473393 w 473392"/>
                  <a:gd name="connsiteY1" fmla="*/ 0 h 219074"/>
                  <a:gd name="connsiteX2" fmla="*/ 473393 w 473392"/>
                  <a:gd name="connsiteY2" fmla="*/ 219075 h 219074"/>
                  <a:gd name="connsiteX3" fmla="*/ 0 w 473392"/>
                  <a:gd name="connsiteY3" fmla="*/ 219075 h 219074"/>
                </a:gdLst>
                <a:ahLst/>
                <a:cxnLst>
                  <a:cxn ang="0">
                    <a:pos x="connsiteX0" y="connsiteY0"/>
                  </a:cxn>
                  <a:cxn ang="0">
                    <a:pos x="connsiteX1" y="connsiteY1"/>
                  </a:cxn>
                  <a:cxn ang="0">
                    <a:pos x="connsiteX2" y="connsiteY2"/>
                  </a:cxn>
                  <a:cxn ang="0">
                    <a:pos x="connsiteX3" y="connsiteY3"/>
                  </a:cxn>
                </a:cxnLst>
                <a:rect l="l" t="t" r="r" b="b"/>
                <a:pathLst>
                  <a:path w="473392" h="219074">
                    <a:moveTo>
                      <a:pt x="0" y="0"/>
                    </a:moveTo>
                    <a:lnTo>
                      <a:pt x="473393" y="0"/>
                    </a:lnTo>
                    <a:lnTo>
                      <a:pt x="473393" y="219075"/>
                    </a:lnTo>
                    <a:lnTo>
                      <a:pt x="0" y="219075"/>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a:sym typeface="Helvetica Neue"/>
                </a:endParaRPr>
              </a:p>
            </p:txBody>
          </p:sp>
          <p:sp>
            <p:nvSpPr>
              <p:cNvPr id="382" name="Freeform: Shape 381">
                <a:extLst>
                  <a:ext uri="{FF2B5EF4-FFF2-40B4-BE49-F238E27FC236}">
                    <a16:creationId xmlns:a16="http://schemas.microsoft.com/office/drawing/2014/main" id="{824943C0-521C-9F7C-A8D3-FAA289B67906}"/>
                  </a:ext>
                </a:extLst>
              </p:cNvPr>
              <p:cNvSpPr/>
              <p:nvPr/>
            </p:nvSpPr>
            <p:spPr>
              <a:xfrm rot="-1759201">
                <a:off x="6323201" y="3073438"/>
                <a:ext cx="473392" cy="219074"/>
              </a:xfrm>
              <a:custGeom>
                <a:avLst/>
                <a:gdLst>
                  <a:gd name="connsiteX0" fmla="*/ 0 w 473392"/>
                  <a:gd name="connsiteY0" fmla="*/ 0 h 219074"/>
                  <a:gd name="connsiteX1" fmla="*/ 473393 w 473392"/>
                  <a:gd name="connsiteY1" fmla="*/ 0 h 219074"/>
                  <a:gd name="connsiteX2" fmla="*/ 473393 w 473392"/>
                  <a:gd name="connsiteY2" fmla="*/ 219075 h 219074"/>
                  <a:gd name="connsiteX3" fmla="*/ 0 w 473392"/>
                  <a:gd name="connsiteY3" fmla="*/ 219075 h 219074"/>
                </a:gdLst>
                <a:ahLst/>
                <a:cxnLst>
                  <a:cxn ang="0">
                    <a:pos x="connsiteX0" y="connsiteY0"/>
                  </a:cxn>
                  <a:cxn ang="0">
                    <a:pos x="connsiteX1" y="connsiteY1"/>
                  </a:cxn>
                  <a:cxn ang="0">
                    <a:pos x="connsiteX2" y="connsiteY2"/>
                  </a:cxn>
                  <a:cxn ang="0">
                    <a:pos x="connsiteX3" y="connsiteY3"/>
                  </a:cxn>
                </a:cxnLst>
                <a:rect l="l" t="t" r="r" b="b"/>
                <a:pathLst>
                  <a:path w="473392" h="219074">
                    <a:moveTo>
                      <a:pt x="0" y="0"/>
                    </a:moveTo>
                    <a:lnTo>
                      <a:pt x="473393" y="0"/>
                    </a:lnTo>
                    <a:lnTo>
                      <a:pt x="473393" y="219075"/>
                    </a:lnTo>
                    <a:lnTo>
                      <a:pt x="0" y="219075"/>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a:sym typeface="Helvetica Neue"/>
                </a:endParaRPr>
              </a:p>
            </p:txBody>
          </p:sp>
        </p:grpSp>
        <p:grpSp>
          <p:nvGrpSpPr>
            <p:cNvPr id="377" name="Graphic 471">
              <a:extLst>
                <a:ext uri="{FF2B5EF4-FFF2-40B4-BE49-F238E27FC236}">
                  <a16:creationId xmlns:a16="http://schemas.microsoft.com/office/drawing/2014/main" id="{F6A94E97-6A0A-32E0-3CC5-3CD703C2D66E}"/>
                </a:ext>
              </a:extLst>
            </p:cNvPr>
            <p:cNvGrpSpPr/>
            <p:nvPr/>
          </p:nvGrpSpPr>
          <p:grpSpPr>
            <a:xfrm>
              <a:off x="6328538" y="2104197"/>
              <a:ext cx="2172237" cy="1197414"/>
              <a:chOff x="6328538" y="2104197"/>
              <a:chExt cx="2172237" cy="1197414"/>
            </a:xfrm>
            <a:solidFill>
              <a:srgbClr val="0A69B3"/>
            </a:solidFill>
          </p:grpSpPr>
          <p:sp>
            <p:nvSpPr>
              <p:cNvPr id="379" name="Freeform: Shape 378">
                <a:extLst>
                  <a:ext uri="{FF2B5EF4-FFF2-40B4-BE49-F238E27FC236}">
                    <a16:creationId xmlns:a16="http://schemas.microsoft.com/office/drawing/2014/main" id="{CBFC8F71-7BFA-7AF6-8945-1C3B312B66C0}"/>
                  </a:ext>
                </a:extLst>
              </p:cNvPr>
              <p:cNvSpPr/>
              <p:nvPr/>
            </p:nvSpPr>
            <p:spPr>
              <a:xfrm rot="-3603600">
                <a:off x="8154541" y="2955378"/>
                <a:ext cx="219075" cy="473392"/>
              </a:xfrm>
              <a:custGeom>
                <a:avLst/>
                <a:gdLst>
                  <a:gd name="connsiteX0" fmla="*/ 0 w 219075"/>
                  <a:gd name="connsiteY0" fmla="*/ 0 h 473392"/>
                  <a:gd name="connsiteX1" fmla="*/ 219075 w 219075"/>
                  <a:gd name="connsiteY1" fmla="*/ 0 h 473392"/>
                  <a:gd name="connsiteX2" fmla="*/ 219075 w 219075"/>
                  <a:gd name="connsiteY2" fmla="*/ 473393 h 473392"/>
                  <a:gd name="connsiteX3" fmla="*/ 0 w 219075"/>
                  <a:gd name="connsiteY3" fmla="*/ 473393 h 473392"/>
                </a:gdLst>
                <a:ahLst/>
                <a:cxnLst>
                  <a:cxn ang="0">
                    <a:pos x="connsiteX0" y="connsiteY0"/>
                  </a:cxn>
                  <a:cxn ang="0">
                    <a:pos x="connsiteX1" y="connsiteY1"/>
                  </a:cxn>
                  <a:cxn ang="0">
                    <a:pos x="connsiteX2" y="connsiteY2"/>
                  </a:cxn>
                  <a:cxn ang="0">
                    <a:pos x="connsiteX3" y="connsiteY3"/>
                  </a:cxn>
                </a:cxnLst>
                <a:rect l="l" t="t" r="r" b="b"/>
                <a:pathLst>
                  <a:path w="219075" h="473392">
                    <a:moveTo>
                      <a:pt x="0" y="0"/>
                    </a:moveTo>
                    <a:lnTo>
                      <a:pt x="219075" y="0"/>
                    </a:lnTo>
                    <a:lnTo>
                      <a:pt x="219075" y="473393"/>
                    </a:lnTo>
                    <a:lnTo>
                      <a:pt x="0" y="473393"/>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a:sym typeface="Helvetica Neue"/>
                </a:endParaRPr>
              </a:p>
            </p:txBody>
          </p:sp>
          <p:sp>
            <p:nvSpPr>
              <p:cNvPr id="380" name="Freeform: Shape 379">
                <a:extLst>
                  <a:ext uri="{FF2B5EF4-FFF2-40B4-BE49-F238E27FC236}">
                    <a16:creationId xmlns:a16="http://schemas.microsoft.com/office/drawing/2014/main" id="{FDA52226-D24D-4395-652D-B43C2D0C30D2}"/>
                  </a:ext>
                </a:extLst>
              </p:cNvPr>
              <p:cNvSpPr/>
              <p:nvPr/>
            </p:nvSpPr>
            <p:spPr>
              <a:xfrm rot="-3603600">
                <a:off x="6455696" y="1977039"/>
                <a:ext cx="219075" cy="473392"/>
              </a:xfrm>
              <a:custGeom>
                <a:avLst/>
                <a:gdLst>
                  <a:gd name="connsiteX0" fmla="*/ 0 w 219075"/>
                  <a:gd name="connsiteY0" fmla="*/ 0 h 473392"/>
                  <a:gd name="connsiteX1" fmla="*/ 219075 w 219075"/>
                  <a:gd name="connsiteY1" fmla="*/ 0 h 473392"/>
                  <a:gd name="connsiteX2" fmla="*/ 219075 w 219075"/>
                  <a:gd name="connsiteY2" fmla="*/ 473393 h 473392"/>
                  <a:gd name="connsiteX3" fmla="*/ 0 w 219075"/>
                  <a:gd name="connsiteY3" fmla="*/ 473393 h 473392"/>
                </a:gdLst>
                <a:ahLst/>
                <a:cxnLst>
                  <a:cxn ang="0">
                    <a:pos x="connsiteX0" y="connsiteY0"/>
                  </a:cxn>
                  <a:cxn ang="0">
                    <a:pos x="connsiteX1" y="connsiteY1"/>
                  </a:cxn>
                  <a:cxn ang="0">
                    <a:pos x="connsiteX2" y="connsiteY2"/>
                  </a:cxn>
                  <a:cxn ang="0">
                    <a:pos x="connsiteX3" y="connsiteY3"/>
                  </a:cxn>
                </a:cxnLst>
                <a:rect l="l" t="t" r="r" b="b"/>
                <a:pathLst>
                  <a:path w="219075" h="473392">
                    <a:moveTo>
                      <a:pt x="0" y="0"/>
                    </a:moveTo>
                    <a:lnTo>
                      <a:pt x="219075" y="0"/>
                    </a:lnTo>
                    <a:lnTo>
                      <a:pt x="219075" y="473393"/>
                    </a:lnTo>
                    <a:lnTo>
                      <a:pt x="0" y="473393"/>
                    </a:lnTo>
                    <a:close/>
                  </a:path>
                </a:pathLst>
              </a:custGeom>
              <a:solidFill>
                <a:srgbClr val="41728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a:sym typeface="Helvetica Neue"/>
                </a:endParaRPr>
              </a:p>
            </p:txBody>
          </p:sp>
        </p:grpSp>
        <p:sp>
          <p:nvSpPr>
            <p:cNvPr id="378" name="Freeform: Shape 377">
              <a:extLst>
                <a:ext uri="{FF2B5EF4-FFF2-40B4-BE49-F238E27FC236}">
                  <a16:creationId xmlns:a16="http://schemas.microsoft.com/office/drawing/2014/main" id="{CB94C212-4C89-2F0D-9D4B-DF851A8EFBFC}"/>
                </a:ext>
              </a:extLst>
            </p:cNvPr>
            <p:cNvSpPr/>
            <p:nvPr/>
          </p:nvSpPr>
          <p:spPr>
            <a:xfrm>
              <a:off x="4107942" y="2562034"/>
              <a:ext cx="956297" cy="219075"/>
            </a:xfrm>
            <a:custGeom>
              <a:avLst/>
              <a:gdLst>
                <a:gd name="connsiteX0" fmla="*/ 0 w 956297"/>
                <a:gd name="connsiteY0" fmla="*/ 0 h 219075"/>
                <a:gd name="connsiteX1" fmla="*/ 956297 w 956297"/>
                <a:gd name="connsiteY1" fmla="*/ 0 h 219075"/>
                <a:gd name="connsiteX2" fmla="*/ 956297 w 956297"/>
                <a:gd name="connsiteY2" fmla="*/ 219075 h 219075"/>
                <a:gd name="connsiteX3" fmla="*/ 0 w 956297"/>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956297" h="219075">
                  <a:moveTo>
                    <a:pt x="0" y="0"/>
                  </a:moveTo>
                  <a:lnTo>
                    <a:pt x="956297" y="0"/>
                  </a:lnTo>
                  <a:lnTo>
                    <a:pt x="956297" y="219075"/>
                  </a:lnTo>
                  <a:lnTo>
                    <a:pt x="0" y="219075"/>
                  </a:lnTo>
                  <a:close/>
                </a:path>
              </a:pathLst>
            </a:custGeom>
            <a:solidFill>
              <a:srgbClr val="DCDCDC"/>
            </a:soli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a:sym typeface="Helvetica Neue"/>
              </a:endParaRPr>
            </a:p>
          </p:txBody>
        </p:sp>
      </p:grpSp>
      <p:grpSp>
        <p:nvGrpSpPr>
          <p:cNvPr id="385" name="Group 384">
            <a:extLst>
              <a:ext uri="{FF2B5EF4-FFF2-40B4-BE49-F238E27FC236}">
                <a16:creationId xmlns:a16="http://schemas.microsoft.com/office/drawing/2014/main" id="{F5E7C99C-1BAD-188B-327F-23DA5A984BC0}"/>
              </a:ext>
              <a:ext uri="{C183D7F6-B498-43B3-948B-1728B52AA6E4}">
                <adec:decorative xmlns:adec="http://schemas.microsoft.com/office/drawing/2017/decorative" val="1"/>
              </a:ext>
            </a:extLst>
          </p:cNvPr>
          <p:cNvGrpSpPr/>
          <p:nvPr/>
        </p:nvGrpSpPr>
        <p:grpSpPr>
          <a:xfrm>
            <a:off x="212287" y="3690135"/>
            <a:ext cx="479126" cy="508836"/>
            <a:chOff x="3419459" y="4545607"/>
            <a:chExt cx="466589" cy="471764"/>
          </a:xfrm>
        </p:grpSpPr>
        <p:grpSp>
          <p:nvGrpSpPr>
            <p:cNvPr id="386" name="Graphic 35">
              <a:extLst>
                <a:ext uri="{FF2B5EF4-FFF2-40B4-BE49-F238E27FC236}">
                  <a16:creationId xmlns:a16="http://schemas.microsoft.com/office/drawing/2014/main" id="{436ED66E-1DC8-5308-4FA5-4C5946FBA2F2}"/>
                </a:ext>
              </a:extLst>
            </p:cNvPr>
            <p:cNvGrpSpPr/>
            <p:nvPr/>
          </p:nvGrpSpPr>
          <p:grpSpPr>
            <a:xfrm>
              <a:off x="3512046" y="4717000"/>
              <a:ext cx="286834" cy="124749"/>
              <a:chOff x="3512046" y="4717000"/>
              <a:chExt cx="286834" cy="124749"/>
            </a:xfrm>
            <a:solidFill>
              <a:srgbClr val="0A69B3"/>
            </a:solidFill>
          </p:grpSpPr>
          <p:sp>
            <p:nvSpPr>
              <p:cNvPr id="391" name="Freeform: Shape 390">
                <a:extLst>
                  <a:ext uri="{FF2B5EF4-FFF2-40B4-BE49-F238E27FC236}">
                    <a16:creationId xmlns:a16="http://schemas.microsoft.com/office/drawing/2014/main" id="{53893E51-0B05-B413-5348-55DF265CC06B}"/>
                  </a:ext>
                </a:extLst>
              </p:cNvPr>
              <p:cNvSpPr/>
              <p:nvPr/>
            </p:nvSpPr>
            <p:spPr>
              <a:xfrm>
                <a:off x="3512046" y="4730773"/>
                <a:ext cx="66877" cy="94952"/>
              </a:xfrm>
              <a:custGeom>
                <a:avLst/>
                <a:gdLst>
                  <a:gd name="connsiteX0" fmla="*/ 0 w 66877"/>
                  <a:gd name="connsiteY0" fmla="*/ 84358 h 94952"/>
                  <a:gd name="connsiteX1" fmla="*/ 32578 w 66877"/>
                  <a:gd name="connsiteY1" fmla="*/ 55886 h 94952"/>
                  <a:gd name="connsiteX2" fmla="*/ 52840 w 66877"/>
                  <a:gd name="connsiteY2" fmla="*/ 26751 h 94952"/>
                  <a:gd name="connsiteX3" fmla="*/ 33770 w 66877"/>
                  <a:gd name="connsiteY3" fmla="*/ 9800 h 94952"/>
                  <a:gd name="connsiteX4" fmla="*/ 11521 w 66877"/>
                  <a:gd name="connsiteY4" fmla="*/ 32975 h 94952"/>
                  <a:gd name="connsiteX5" fmla="*/ 265 w 66877"/>
                  <a:gd name="connsiteY5" fmla="*/ 32975 h 94952"/>
                  <a:gd name="connsiteX6" fmla="*/ 34167 w 66877"/>
                  <a:gd name="connsiteY6" fmla="*/ 0 h 94952"/>
                  <a:gd name="connsiteX7" fmla="*/ 64758 w 66877"/>
                  <a:gd name="connsiteY7" fmla="*/ 26486 h 94952"/>
                  <a:gd name="connsiteX8" fmla="*/ 39332 w 66877"/>
                  <a:gd name="connsiteY8" fmla="*/ 63434 h 94952"/>
                  <a:gd name="connsiteX9" fmla="*/ 14038 w 66877"/>
                  <a:gd name="connsiteY9" fmla="*/ 85285 h 94952"/>
                  <a:gd name="connsiteX10" fmla="*/ 66877 w 66877"/>
                  <a:gd name="connsiteY10" fmla="*/ 85285 h 94952"/>
                  <a:gd name="connsiteX11" fmla="*/ 66877 w 66877"/>
                  <a:gd name="connsiteY11" fmla="*/ 94953 h 94952"/>
                  <a:gd name="connsiteX12" fmla="*/ 0 w 66877"/>
                  <a:gd name="connsiteY12" fmla="*/ 94953 h 94952"/>
                  <a:gd name="connsiteX13" fmla="*/ 0 w 66877"/>
                  <a:gd name="connsiteY13" fmla="*/ 84358 h 9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877" h="94952">
                    <a:moveTo>
                      <a:pt x="0" y="84358"/>
                    </a:moveTo>
                    <a:lnTo>
                      <a:pt x="32578" y="55886"/>
                    </a:lnTo>
                    <a:cubicBezTo>
                      <a:pt x="49794" y="40921"/>
                      <a:pt x="52840" y="34564"/>
                      <a:pt x="52840" y="26751"/>
                    </a:cubicBezTo>
                    <a:cubicBezTo>
                      <a:pt x="52840" y="16686"/>
                      <a:pt x="44232" y="9800"/>
                      <a:pt x="33770" y="9800"/>
                    </a:cubicBezTo>
                    <a:cubicBezTo>
                      <a:pt x="20659" y="9800"/>
                      <a:pt x="12051" y="17878"/>
                      <a:pt x="11521" y="32975"/>
                    </a:cubicBezTo>
                    <a:lnTo>
                      <a:pt x="265" y="32975"/>
                    </a:lnTo>
                    <a:cubicBezTo>
                      <a:pt x="795" y="13111"/>
                      <a:pt x="13508" y="0"/>
                      <a:pt x="34167" y="0"/>
                    </a:cubicBezTo>
                    <a:cubicBezTo>
                      <a:pt x="52575" y="0"/>
                      <a:pt x="64758" y="11124"/>
                      <a:pt x="64758" y="26486"/>
                    </a:cubicBezTo>
                    <a:cubicBezTo>
                      <a:pt x="64758" y="38140"/>
                      <a:pt x="59726" y="46086"/>
                      <a:pt x="39332" y="63434"/>
                    </a:cubicBezTo>
                    <a:lnTo>
                      <a:pt x="14038" y="85285"/>
                    </a:lnTo>
                    <a:lnTo>
                      <a:pt x="66877" y="85285"/>
                    </a:lnTo>
                    <a:lnTo>
                      <a:pt x="66877" y="94953"/>
                    </a:lnTo>
                    <a:lnTo>
                      <a:pt x="0" y="94953"/>
                    </a:lnTo>
                    <a:lnTo>
                      <a:pt x="0" y="84358"/>
                    </a:lnTo>
                    <a:close/>
                  </a:path>
                </a:pathLst>
              </a:custGeom>
              <a:solidFill>
                <a:srgbClr val="41728A"/>
              </a:solidFill>
              <a:ln w="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sp>
            <p:nvSpPr>
              <p:cNvPr id="392" name="Freeform: Shape 391">
                <a:extLst>
                  <a:ext uri="{FF2B5EF4-FFF2-40B4-BE49-F238E27FC236}">
                    <a16:creationId xmlns:a16="http://schemas.microsoft.com/office/drawing/2014/main" id="{0F3A6D26-545A-15DD-F85C-75D01B756DB5}"/>
                  </a:ext>
                </a:extLst>
              </p:cNvPr>
              <p:cNvSpPr/>
              <p:nvPr/>
            </p:nvSpPr>
            <p:spPr>
              <a:xfrm>
                <a:off x="3591098" y="4733024"/>
                <a:ext cx="78796" cy="92701"/>
              </a:xfrm>
              <a:custGeom>
                <a:avLst/>
                <a:gdLst>
                  <a:gd name="connsiteX0" fmla="*/ 0 w 78796"/>
                  <a:gd name="connsiteY0" fmla="*/ 60918 h 92701"/>
                  <a:gd name="connsiteX1" fmla="*/ 43967 w 78796"/>
                  <a:gd name="connsiteY1" fmla="*/ 0 h 92701"/>
                  <a:gd name="connsiteX2" fmla="*/ 61845 w 78796"/>
                  <a:gd name="connsiteY2" fmla="*/ 0 h 92701"/>
                  <a:gd name="connsiteX3" fmla="*/ 61845 w 78796"/>
                  <a:gd name="connsiteY3" fmla="*/ 61315 h 92701"/>
                  <a:gd name="connsiteX4" fmla="*/ 78796 w 78796"/>
                  <a:gd name="connsiteY4" fmla="*/ 61315 h 92701"/>
                  <a:gd name="connsiteX5" fmla="*/ 78796 w 78796"/>
                  <a:gd name="connsiteY5" fmla="*/ 70718 h 92701"/>
                  <a:gd name="connsiteX6" fmla="*/ 61845 w 78796"/>
                  <a:gd name="connsiteY6" fmla="*/ 70718 h 92701"/>
                  <a:gd name="connsiteX7" fmla="*/ 61845 w 78796"/>
                  <a:gd name="connsiteY7" fmla="*/ 92701 h 92701"/>
                  <a:gd name="connsiteX8" fmla="*/ 50324 w 78796"/>
                  <a:gd name="connsiteY8" fmla="*/ 92701 h 92701"/>
                  <a:gd name="connsiteX9" fmla="*/ 50324 w 78796"/>
                  <a:gd name="connsiteY9" fmla="*/ 70718 h 92701"/>
                  <a:gd name="connsiteX10" fmla="*/ 0 w 78796"/>
                  <a:gd name="connsiteY10" fmla="*/ 70718 h 92701"/>
                  <a:gd name="connsiteX11" fmla="*/ 0 w 78796"/>
                  <a:gd name="connsiteY11" fmla="*/ 60918 h 92701"/>
                  <a:gd name="connsiteX12" fmla="*/ 50853 w 78796"/>
                  <a:gd name="connsiteY12" fmla="*/ 6886 h 92701"/>
                  <a:gd name="connsiteX13" fmla="*/ 11257 w 78796"/>
                  <a:gd name="connsiteY13" fmla="*/ 61713 h 92701"/>
                  <a:gd name="connsiteX14" fmla="*/ 50853 w 78796"/>
                  <a:gd name="connsiteY14" fmla="*/ 61713 h 92701"/>
                  <a:gd name="connsiteX15" fmla="*/ 50853 w 78796"/>
                  <a:gd name="connsiteY15" fmla="*/ 6886 h 92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796" h="92701">
                    <a:moveTo>
                      <a:pt x="0" y="60918"/>
                    </a:moveTo>
                    <a:lnTo>
                      <a:pt x="43967" y="0"/>
                    </a:lnTo>
                    <a:lnTo>
                      <a:pt x="61845" y="0"/>
                    </a:lnTo>
                    <a:lnTo>
                      <a:pt x="61845" y="61315"/>
                    </a:lnTo>
                    <a:lnTo>
                      <a:pt x="78796" y="61315"/>
                    </a:lnTo>
                    <a:lnTo>
                      <a:pt x="78796" y="70718"/>
                    </a:lnTo>
                    <a:lnTo>
                      <a:pt x="61845" y="70718"/>
                    </a:lnTo>
                    <a:lnTo>
                      <a:pt x="61845" y="92701"/>
                    </a:lnTo>
                    <a:lnTo>
                      <a:pt x="50324" y="92701"/>
                    </a:lnTo>
                    <a:lnTo>
                      <a:pt x="50324" y="70718"/>
                    </a:lnTo>
                    <a:lnTo>
                      <a:pt x="0" y="70718"/>
                    </a:lnTo>
                    <a:lnTo>
                      <a:pt x="0" y="60918"/>
                    </a:lnTo>
                    <a:close/>
                    <a:moveTo>
                      <a:pt x="50853" y="6886"/>
                    </a:moveTo>
                    <a:lnTo>
                      <a:pt x="11257" y="61713"/>
                    </a:lnTo>
                    <a:lnTo>
                      <a:pt x="50853" y="61713"/>
                    </a:lnTo>
                    <a:lnTo>
                      <a:pt x="50853" y="6886"/>
                    </a:lnTo>
                    <a:close/>
                  </a:path>
                </a:pathLst>
              </a:custGeom>
              <a:solidFill>
                <a:srgbClr val="41728A"/>
              </a:solidFill>
              <a:ln w="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sp>
            <p:nvSpPr>
              <p:cNvPr id="393" name="Freeform: Shape 392">
                <a:extLst>
                  <a:ext uri="{FF2B5EF4-FFF2-40B4-BE49-F238E27FC236}">
                    <a16:creationId xmlns:a16="http://schemas.microsoft.com/office/drawing/2014/main" id="{0F1166CF-417B-6B99-A487-AD5CB2BF08E4}"/>
                  </a:ext>
                </a:extLst>
              </p:cNvPr>
              <p:cNvSpPr/>
              <p:nvPr/>
            </p:nvSpPr>
            <p:spPr>
              <a:xfrm>
                <a:off x="3674661" y="4717000"/>
                <a:ext cx="51647" cy="124749"/>
              </a:xfrm>
              <a:custGeom>
                <a:avLst/>
                <a:gdLst>
                  <a:gd name="connsiteX0" fmla="*/ 10727 w 51647"/>
                  <a:gd name="connsiteY0" fmla="*/ 124750 h 124749"/>
                  <a:gd name="connsiteX1" fmla="*/ 0 w 51647"/>
                  <a:gd name="connsiteY1" fmla="*/ 124750 h 124749"/>
                  <a:gd name="connsiteX2" fmla="*/ 41186 w 51647"/>
                  <a:gd name="connsiteY2" fmla="*/ 0 h 124749"/>
                  <a:gd name="connsiteX3" fmla="*/ 51648 w 51647"/>
                  <a:gd name="connsiteY3" fmla="*/ 0 h 124749"/>
                  <a:gd name="connsiteX4" fmla="*/ 10727 w 51647"/>
                  <a:gd name="connsiteY4" fmla="*/ 124750 h 124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47" h="124749">
                    <a:moveTo>
                      <a:pt x="10727" y="124750"/>
                    </a:moveTo>
                    <a:lnTo>
                      <a:pt x="0" y="124750"/>
                    </a:lnTo>
                    <a:lnTo>
                      <a:pt x="41186" y="0"/>
                    </a:lnTo>
                    <a:lnTo>
                      <a:pt x="51648" y="0"/>
                    </a:lnTo>
                    <a:lnTo>
                      <a:pt x="10727" y="124750"/>
                    </a:lnTo>
                    <a:close/>
                  </a:path>
                </a:pathLst>
              </a:custGeom>
              <a:solidFill>
                <a:srgbClr val="41728A"/>
              </a:solidFill>
              <a:ln w="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sp>
            <p:nvSpPr>
              <p:cNvPr id="394" name="Freeform: Shape 393">
                <a:extLst>
                  <a:ext uri="{FF2B5EF4-FFF2-40B4-BE49-F238E27FC236}">
                    <a16:creationId xmlns:a16="http://schemas.microsoft.com/office/drawing/2014/main" id="{155E010F-A9A4-AE41-AB6B-F9B3019181FA}"/>
                  </a:ext>
                </a:extLst>
              </p:cNvPr>
              <p:cNvSpPr/>
              <p:nvPr/>
            </p:nvSpPr>
            <p:spPr>
              <a:xfrm>
                <a:off x="3732798" y="4733024"/>
                <a:ext cx="66082" cy="92701"/>
              </a:xfrm>
              <a:custGeom>
                <a:avLst/>
                <a:gdLst>
                  <a:gd name="connsiteX0" fmla="*/ 13508 w 66082"/>
                  <a:gd name="connsiteY0" fmla="*/ 92701 h 92701"/>
                  <a:gd name="connsiteX1" fmla="*/ 54826 w 66082"/>
                  <a:gd name="connsiteY1" fmla="*/ 9932 h 92701"/>
                  <a:gd name="connsiteX2" fmla="*/ 0 w 66082"/>
                  <a:gd name="connsiteY2" fmla="*/ 9932 h 92701"/>
                  <a:gd name="connsiteX3" fmla="*/ 0 w 66082"/>
                  <a:gd name="connsiteY3" fmla="*/ 0 h 92701"/>
                  <a:gd name="connsiteX4" fmla="*/ 66083 w 66082"/>
                  <a:gd name="connsiteY4" fmla="*/ 0 h 92701"/>
                  <a:gd name="connsiteX5" fmla="*/ 66083 w 66082"/>
                  <a:gd name="connsiteY5" fmla="*/ 10065 h 92701"/>
                  <a:gd name="connsiteX6" fmla="*/ 26221 w 66082"/>
                  <a:gd name="connsiteY6" fmla="*/ 92701 h 92701"/>
                  <a:gd name="connsiteX7" fmla="*/ 13508 w 66082"/>
                  <a:gd name="connsiteY7" fmla="*/ 92701 h 92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82" h="92701">
                    <a:moveTo>
                      <a:pt x="13508" y="92701"/>
                    </a:moveTo>
                    <a:lnTo>
                      <a:pt x="54826" y="9932"/>
                    </a:lnTo>
                    <a:lnTo>
                      <a:pt x="0" y="9932"/>
                    </a:lnTo>
                    <a:lnTo>
                      <a:pt x="0" y="0"/>
                    </a:lnTo>
                    <a:lnTo>
                      <a:pt x="66083" y="0"/>
                    </a:lnTo>
                    <a:lnTo>
                      <a:pt x="66083" y="10065"/>
                    </a:lnTo>
                    <a:lnTo>
                      <a:pt x="26221" y="92701"/>
                    </a:lnTo>
                    <a:lnTo>
                      <a:pt x="13508" y="92701"/>
                    </a:lnTo>
                    <a:close/>
                  </a:path>
                </a:pathLst>
              </a:custGeom>
              <a:solidFill>
                <a:srgbClr val="41728A"/>
              </a:solidFill>
              <a:ln w="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grpSp>
        <p:sp>
          <p:nvSpPr>
            <p:cNvPr id="387" name="Freeform: Shape 386">
              <a:extLst>
                <a:ext uri="{FF2B5EF4-FFF2-40B4-BE49-F238E27FC236}">
                  <a16:creationId xmlns:a16="http://schemas.microsoft.com/office/drawing/2014/main" id="{879E0353-F023-BEAB-BA34-B12BDD2DA6A8}"/>
                </a:ext>
              </a:extLst>
            </p:cNvPr>
            <p:cNvSpPr/>
            <p:nvPr/>
          </p:nvSpPr>
          <p:spPr>
            <a:xfrm>
              <a:off x="3447373" y="4552275"/>
              <a:ext cx="178941" cy="146288"/>
            </a:xfrm>
            <a:custGeom>
              <a:avLst/>
              <a:gdLst>
                <a:gd name="connsiteX0" fmla="*/ 178942 w 178941"/>
                <a:gd name="connsiteY0" fmla="*/ 0 h 146288"/>
                <a:gd name="connsiteX1" fmla="*/ 178942 w 178941"/>
                <a:gd name="connsiteY1" fmla="*/ 21917 h 146288"/>
                <a:gd name="connsiteX2" fmla="*/ 56094 w 178941"/>
                <a:gd name="connsiteY2" fmla="*/ 81946 h 146288"/>
                <a:gd name="connsiteX3" fmla="*/ 87082 w 178941"/>
                <a:gd name="connsiteY3" fmla="*/ 102161 h 146288"/>
                <a:gd name="connsiteX4" fmla="*/ 0 w 178941"/>
                <a:gd name="connsiteY4" fmla="*/ 146288 h 146288"/>
                <a:gd name="connsiteX5" fmla="*/ 5307 w 178941"/>
                <a:gd name="connsiteY5" fmla="*/ 48810 h 146288"/>
                <a:gd name="connsiteX6" fmla="*/ 37497 w 178941"/>
                <a:gd name="connsiteY6" fmla="*/ 69810 h 146288"/>
                <a:gd name="connsiteX7" fmla="*/ 178942 w 178941"/>
                <a:gd name="connsiteY7" fmla="*/ 0 h 14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941" h="146288">
                  <a:moveTo>
                    <a:pt x="178942" y="0"/>
                  </a:moveTo>
                  <a:lnTo>
                    <a:pt x="178942" y="21917"/>
                  </a:lnTo>
                  <a:cubicBezTo>
                    <a:pt x="132582" y="27754"/>
                    <a:pt x="89372" y="48801"/>
                    <a:pt x="56094" y="81946"/>
                  </a:cubicBezTo>
                  <a:lnTo>
                    <a:pt x="87082" y="102161"/>
                  </a:lnTo>
                  <a:lnTo>
                    <a:pt x="0" y="146288"/>
                  </a:lnTo>
                  <a:lnTo>
                    <a:pt x="5307" y="48810"/>
                  </a:lnTo>
                  <a:lnTo>
                    <a:pt x="37497" y="69810"/>
                  </a:lnTo>
                  <a:cubicBezTo>
                    <a:pt x="75249" y="30695"/>
                    <a:pt x="125260" y="6120"/>
                    <a:pt x="178942" y="0"/>
                  </a:cubicBezTo>
                  <a:close/>
                </a:path>
              </a:pathLst>
            </a:custGeom>
            <a:solidFill>
              <a:schemeClr val="bg2">
                <a:lumMod val="20000"/>
                <a:lumOff val="80000"/>
              </a:schemeClr>
            </a:solidFill>
            <a:ln w="21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sp>
          <p:nvSpPr>
            <p:cNvPr id="388" name="Freeform: Shape 387">
              <a:extLst>
                <a:ext uri="{FF2B5EF4-FFF2-40B4-BE49-F238E27FC236}">
                  <a16:creationId xmlns:a16="http://schemas.microsoft.com/office/drawing/2014/main" id="{126A66C3-E851-E91A-DD7E-9305EFBC1FE3}"/>
                </a:ext>
              </a:extLst>
            </p:cNvPr>
            <p:cNvSpPr/>
            <p:nvPr/>
          </p:nvSpPr>
          <p:spPr>
            <a:xfrm>
              <a:off x="3680308" y="4552389"/>
              <a:ext cx="205740" cy="231687"/>
            </a:xfrm>
            <a:custGeom>
              <a:avLst/>
              <a:gdLst>
                <a:gd name="connsiteX0" fmla="*/ 205740 w 205740"/>
                <a:gd name="connsiteY0" fmla="*/ 231687 h 231687"/>
                <a:gd name="connsiteX1" fmla="*/ 183984 w 205740"/>
                <a:gd name="connsiteY1" fmla="*/ 231687 h 231687"/>
                <a:gd name="connsiteX2" fmla="*/ 0 w 205740"/>
                <a:gd name="connsiteY2" fmla="*/ 21936 h 231687"/>
                <a:gd name="connsiteX3" fmla="*/ 0 w 205740"/>
                <a:gd name="connsiteY3" fmla="*/ 0 h 231687"/>
                <a:gd name="connsiteX4" fmla="*/ 137415 w 205740"/>
                <a:gd name="connsiteY4" fmla="*/ 66726 h 231687"/>
                <a:gd name="connsiteX5" fmla="*/ 205740 w 205740"/>
                <a:gd name="connsiteY5" fmla="*/ 231687 h 23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740" h="231687">
                  <a:moveTo>
                    <a:pt x="205740" y="231687"/>
                  </a:moveTo>
                  <a:lnTo>
                    <a:pt x="183984" y="231687"/>
                  </a:lnTo>
                  <a:cubicBezTo>
                    <a:pt x="183984" y="124381"/>
                    <a:pt x="103674" y="35482"/>
                    <a:pt x="0" y="21936"/>
                  </a:cubicBezTo>
                  <a:lnTo>
                    <a:pt x="0" y="0"/>
                  </a:lnTo>
                  <a:cubicBezTo>
                    <a:pt x="51884" y="6054"/>
                    <a:pt x="99909" y="29220"/>
                    <a:pt x="137415" y="66726"/>
                  </a:cubicBezTo>
                  <a:cubicBezTo>
                    <a:pt x="181477" y="110788"/>
                    <a:pt x="205740" y="169369"/>
                    <a:pt x="205740" y="231687"/>
                  </a:cubicBezTo>
                  <a:close/>
                </a:path>
              </a:pathLst>
            </a:custGeom>
            <a:solidFill>
              <a:schemeClr val="bg2">
                <a:lumMod val="20000"/>
                <a:lumOff val="80000"/>
              </a:schemeClr>
            </a:solidFill>
            <a:ln w="21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sp>
          <p:nvSpPr>
            <p:cNvPr id="389" name="Freeform: Shape 388">
              <a:extLst>
                <a:ext uri="{FF2B5EF4-FFF2-40B4-BE49-F238E27FC236}">
                  <a16:creationId xmlns:a16="http://schemas.microsoft.com/office/drawing/2014/main" id="{F0738FEA-EA40-1D09-846F-1359931730D0}"/>
                </a:ext>
              </a:extLst>
            </p:cNvPr>
            <p:cNvSpPr/>
            <p:nvPr/>
          </p:nvSpPr>
          <p:spPr>
            <a:xfrm>
              <a:off x="3419459" y="4784076"/>
              <a:ext cx="438675" cy="233295"/>
            </a:xfrm>
            <a:custGeom>
              <a:avLst/>
              <a:gdLst>
                <a:gd name="connsiteX0" fmla="*/ 438676 w 438675"/>
                <a:gd name="connsiteY0" fmla="*/ 85512 h 233295"/>
                <a:gd name="connsiteX1" fmla="*/ 351593 w 438675"/>
                <a:gd name="connsiteY1" fmla="*/ 129640 h 233295"/>
                <a:gd name="connsiteX2" fmla="*/ 382572 w 438675"/>
                <a:gd name="connsiteY2" fmla="*/ 149855 h 233295"/>
                <a:gd name="connsiteX3" fmla="*/ 233286 w 438675"/>
                <a:gd name="connsiteY3" fmla="*/ 211539 h 233295"/>
                <a:gd name="connsiteX4" fmla="*/ 83705 w 438675"/>
                <a:gd name="connsiteY4" fmla="*/ 149580 h 233295"/>
                <a:gd name="connsiteX5" fmla="*/ 21747 w 438675"/>
                <a:gd name="connsiteY5" fmla="*/ 0 h 233295"/>
                <a:gd name="connsiteX6" fmla="*/ 0 w 438675"/>
                <a:gd name="connsiteY6" fmla="*/ 0 h 233295"/>
                <a:gd name="connsiteX7" fmla="*/ 68334 w 438675"/>
                <a:gd name="connsiteY7" fmla="*/ 164961 h 233295"/>
                <a:gd name="connsiteX8" fmla="*/ 233295 w 438675"/>
                <a:gd name="connsiteY8" fmla="*/ 233295 h 233295"/>
                <a:gd name="connsiteX9" fmla="*/ 401179 w 438675"/>
                <a:gd name="connsiteY9" fmla="*/ 161991 h 233295"/>
                <a:gd name="connsiteX10" fmla="*/ 433369 w 438675"/>
                <a:gd name="connsiteY10" fmla="*/ 182991 h 233295"/>
                <a:gd name="connsiteX11" fmla="*/ 438676 w 438675"/>
                <a:gd name="connsiteY11" fmla="*/ 85512 h 23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8675" h="233295">
                  <a:moveTo>
                    <a:pt x="438676" y="85512"/>
                  </a:moveTo>
                  <a:lnTo>
                    <a:pt x="351593" y="129640"/>
                  </a:lnTo>
                  <a:lnTo>
                    <a:pt x="382572" y="149855"/>
                  </a:lnTo>
                  <a:cubicBezTo>
                    <a:pt x="343042" y="189234"/>
                    <a:pt x="289483" y="211539"/>
                    <a:pt x="233286" y="211539"/>
                  </a:cubicBezTo>
                  <a:cubicBezTo>
                    <a:pt x="177088" y="211539"/>
                    <a:pt x="123662" y="189536"/>
                    <a:pt x="83705" y="149580"/>
                  </a:cubicBezTo>
                  <a:cubicBezTo>
                    <a:pt x="43749" y="109624"/>
                    <a:pt x="21747" y="56500"/>
                    <a:pt x="21747" y="0"/>
                  </a:cubicBezTo>
                  <a:lnTo>
                    <a:pt x="0" y="0"/>
                  </a:lnTo>
                  <a:cubicBezTo>
                    <a:pt x="0" y="62318"/>
                    <a:pt x="24263" y="120900"/>
                    <a:pt x="68334" y="164961"/>
                  </a:cubicBezTo>
                  <a:cubicBezTo>
                    <a:pt x="112396" y="209023"/>
                    <a:pt x="170986" y="233295"/>
                    <a:pt x="233295" y="233295"/>
                  </a:cubicBezTo>
                  <a:cubicBezTo>
                    <a:pt x="295603" y="233295"/>
                    <a:pt x="357297" y="207462"/>
                    <a:pt x="401179" y="161991"/>
                  </a:cubicBezTo>
                  <a:lnTo>
                    <a:pt x="433369" y="182991"/>
                  </a:lnTo>
                  <a:lnTo>
                    <a:pt x="438676" y="85512"/>
                  </a:lnTo>
                  <a:close/>
                </a:path>
              </a:pathLst>
            </a:custGeom>
            <a:solidFill>
              <a:srgbClr val="41728A"/>
            </a:solidFill>
            <a:ln w="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sp>
          <p:nvSpPr>
            <p:cNvPr id="390" name="Freeform: Shape 389">
              <a:extLst>
                <a:ext uri="{FF2B5EF4-FFF2-40B4-BE49-F238E27FC236}">
                  <a16:creationId xmlns:a16="http://schemas.microsoft.com/office/drawing/2014/main" id="{FF3DD10C-C287-4EE2-D0CA-75B310C872C2}"/>
                </a:ext>
              </a:extLst>
            </p:cNvPr>
            <p:cNvSpPr/>
            <p:nvPr/>
          </p:nvSpPr>
          <p:spPr>
            <a:xfrm>
              <a:off x="3637250" y="4545607"/>
              <a:ext cx="32104" cy="32104"/>
            </a:xfrm>
            <a:custGeom>
              <a:avLst/>
              <a:gdLst>
                <a:gd name="connsiteX0" fmla="*/ 0 w 32104"/>
                <a:gd name="connsiteY0" fmla="*/ 0 h 32104"/>
                <a:gd name="connsiteX1" fmla="*/ 32105 w 32104"/>
                <a:gd name="connsiteY1" fmla="*/ 0 h 32104"/>
                <a:gd name="connsiteX2" fmla="*/ 32105 w 32104"/>
                <a:gd name="connsiteY2" fmla="*/ 32105 h 32104"/>
                <a:gd name="connsiteX3" fmla="*/ 0 w 32104"/>
                <a:gd name="connsiteY3" fmla="*/ 32105 h 32104"/>
              </a:gdLst>
              <a:ahLst/>
              <a:cxnLst>
                <a:cxn ang="0">
                  <a:pos x="connsiteX0" y="connsiteY0"/>
                </a:cxn>
                <a:cxn ang="0">
                  <a:pos x="connsiteX1" y="connsiteY1"/>
                </a:cxn>
                <a:cxn ang="0">
                  <a:pos x="connsiteX2" y="connsiteY2"/>
                </a:cxn>
                <a:cxn ang="0">
                  <a:pos x="connsiteX3" y="connsiteY3"/>
                </a:cxn>
              </a:cxnLst>
              <a:rect l="l" t="t" r="r" b="b"/>
              <a:pathLst>
                <a:path w="32104" h="32104">
                  <a:moveTo>
                    <a:pt x="0" y="0"/>
                  </a:moveTo>
                  <a:lnTo>
                    <a:pt x="32105" y="0"/>
                  </a:lnTo>
                  <a:lnTo>
                    <a:pt x="32105" y="32105"/>
                  </a:lnTo>
                  <a:lnTo>
                    <a:pt x="0" y="32105"/>
                  </a:lnTo>
                  <a:close/>
                </a:path>
              </a:pathLst>
            </a:custGeom>
            <a:solidFill>
              <a:srgbClr val="41728A"/>
            </a:solidFill>
            <a:ln w="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grpSp>
      <p:grpSp>
        <p:nvGrpSpPr>
          <p:cNvPr id="395" name="Group 394">
            <a:extLst>
              <a:ext uri="{FF2B5EF4-FFF2-40B4-BE49-F238E27FC236}">
                <a16:creationId xmlns:a16="http://schemas.microsoft.com/office/drawing/2014/main" id="{0D6A62E4-E180-02CC-F64E-63D98143DBC7}"/>
              </a:ext>
              <a:ext uri="{C183D7F6-B498-43B3-948B-1728B52AA6E4}">
                <adec:decorative xmlns:adec="http://schemas.microsoft.com/office/drawing/2017/decorative" val="1"/>
              </a:ext>
            </a:extLst>
          </p:cNvPr>
          <p:cNvGrpSpPr/>
          <p:nvPr/>
        </p:nvGrpSpPr>
        <p:grpSpPr>
          <a:xfrm>
            <a:off x="206523" y="4436688"/>
            <a:ext cx="519180" cy="469691"/>
            <a:chOff x="7526336" y="4366727"/>
            <a:chExt cx="532240" cy="498336"/>
          </a:xfrm>
        </p:grpSpPr>
        <p:sp>
          <p:nvSpPr>
            <p:cNvPr id="396" name="Freeform: Shape 395">
              <a:extLst>
                <a:ext uri="{FF2B5EF4-FFF2-40B4-BE49-F238E27FC236}">
                  <a16:creationId xmlns:a16="http://schemas.microsoft.com/office/drawing/2014/main" id="{164F4B14-100C-350D-2C43-9B5B6981BC56}"/>
                </a:ext>
              </a:extLst>
            </p:cNvPr>
            <p:cNvSpPr/>
            <p:nvPr/>
          </p:nvSpPr>
          <p:spPr>
            <a:xfrm>
              <a:off x="7526336" y="4366727"/>
              <a:ext cx="453801" cy="483399"/>
            </a:xfrm>
            <a:custGeom>
              <a:avLst/>
              <a:gdLst>
                <a:gd name="connsiteX0" fmla="*/ 453801 w 453801"/>
                <a:gd name="connsiteY0" fmla="*/ 112077 h 483399"/>
                <a:gd name="connsiteX1" fmla="*/ 434216 w 453801"/>
                <a:gd name="connsiteY1" fmla="*/ 124869 h 483399"/>
                <a:gd name="connsiteX2" fmla="*/ 246912 w 453801"/>
                <a:gd name="connsiteY2" fmla="*/ 23388 h 483399"/>
                <a:gd name="connsiteX3" fmla="*/ 23388 w 453801"/>
                <a:gd name="connsiteY3" fmla="*/ 246921 h 483399"/>
                <a:gd name="connsiteX4" fmla="*/ 134489 w 453801"/>
                <a:gd name="connsiteY4" fmla="*/ 440062 h 483399"/>
                <a:gd name="connsiteX5" fmla="*/ 175478 w 453801"/>
                <a:gd name="connsiteY5" fmla="*/ 458751 h 483399"/>
                <a:gd name="connsiteX6" fmla="*/ 175478 w 453801"/>
                <a:gd name="connsiteY6" fmla="*/ 483400 h 483399"/>
                <a:gd name="connsiteX7" fmla="*/ 134489 w 453801"/>
                <a:gd name="connsiteY7" fmla="*/ 466907 h 483399"/>
                <a:gd name="connsiteX8" fmla="*/ 72319 w 453801"/>
                <a:gd name="connsiteY8" fmla="*/ 421514 h 483399"/>
                <a:gd name="connsiteX9" fmla="*/ 0 w 453801"/>
                <a:gd name="connsiteY9" fmla="*/ 246921 h 483399"/>
                <a:gd name="connsiteX10" fmla="*/ 72319 w 453801"/>
                <a:gd name="connsiteY10" fmla="*/ 72318 h 483399"/>
                <a:gd name="connsiteX11" fmla="*/ 246912 w 453801"/>
                <a:gd name="connsiteY11" fmla="*/ 0 h 483399"/>
                <a:gd name="connsiteX12" fmla="*/ 453801 w 453801"/>
                <a:gd name="connsiteY12" fmla="*/ 112077 h 483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3801" h="483399">
                  <a:moveTo>
                    <a:pt x="453801" y="112077"/>
                  </a:moveTo>
                  <a:lnTo>
                    <a:pt x="434216" y="124869"/>
                  </a:lnTo>
                  <a:cubicBezTo>
                    <a:pt x="392719" y="61326"/>
                    <a:pt x="322698" y="23388"/>
                    <a:pt x="246912" y="23388"/>
                  </a:cubicBezTo>
                  <a:cubicBezTo>
                    <a:pt x="123659" y="23388"/>
                    <a:pt x="23388" y="123669"/>
                    <a:pt x="23388" y="246921"/>
                  </a:cubicBezTo>
                  <a:cubicBezTo>
                    <a:pt x="23388" y="329215"/>
                    <a:pt x="68088" y="401269"/>
                    <a:pt x="134489" y="440062"/>
                  </a:cubicBezTo>
                  <a:cubicBezTo>
                    <a:pt x="147393" y="447607"/>
                    <a:pt x="161110" y="453891"/>
                    <a:pt x="175478" y="458751"/>
                  </a:cubicBezTo>
                  <a:lnTo>
                    <a:pt x="175478" y="483400"/>
                  </a:lnTo>
                  <a:cubicBezTo>
                    <a:pt x="161334" y="479149"/>
                    <a:pt x="147617" y="473628"/>
                    <a:pt x="134489" y="466907"/>
                  </a:cubicBezTo>
                  <a:cubicBezTo>
                    <a:pt x="111813" y="455284"/>
                    <a:pt x="90856" y="440062"/>
                    <a:pt x="72319" y="421514"/>
                  </a:cubicBezTo>
                  <a:cubicBezTo>
                    <a:pt x="25676" y="374882"/>
                    <a:pt x="0" y="312874"/>
                    <a:pt x="0" y="246921"/>
                  </a:cubicBezTo>
                  <a:cubicBezTo>
                    <a:pt x="0" y="180969"/>
                    <a:pt x="25676" y="118961"/>
                    <a:pt x="72319" y="72318"/>
                  </a:cubicBezTo>
                  <a:cubicBezTo>
                    <a:pt x="118951" y="25686"/>
                    <a:pt x="180959" y="0"/>
                    <a:pt x="246912" y="0"/>
                  </a:cubicBezTo>
                  <a:cubicBezTo>
                    <a:pt x="330630" y="0"/>
                    <a:pt x="407972" y="41904"/>
                    <a:pt x="453801" y="112077"/>
                  </a:cubicBezTo>
                  <a:close/>
                </a:path>
              </a:pathLst>
            </a:custGeom>
            <a:solidFill>
              <a:srgbClr val="DCDCDC"/>
            </a:solidFill>
            <a:ln w="1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sp>
          <p:nvSpPr>
            <p:cNvPr id="397" name="Freeform: Shape 396">
              <a:extLst>
                <a:ext uri="{FF2B5EF4-FFF2-40B4-BE49-F238E27FC236}">
                  <a16:creationId xmlns:a16="http://schemas.microsoft.com/office/drawing/2014/main" id="{27488483-C417-2194-98D0-F46CB374B6A0}"/>
                </a:ext>
              </a:extLst>
            </p:cNvPr>
            <p:cNvSpPr/>
            <p:nvPr/>
          </p:nvSpPr>
          <p:spPr>
            <a:xfrm>
              <a:off x="7701814" y="4518226"/>
              <a:ext cx="142981" cy="195286"/>
            </a:xfrm>
            <a:custGeom>
              <a:avLst/>
              <a:gdLst>
                <a:gd name="connsiteX0" fmla="*/ 81999 w 142981"/>
                <a:gd name="connsiteY0" fmla="*/ 195287 h 195286"/>
                <a:gd name="connsiteX1" fmla="*/ 69654 w 142981"/>
                <a:gd name="connsiteY1" fmla="*/ 194443 h 195286"/>
                <a:gd name="connsiteX2" fmla="*/ 0 w 142981"/>
                <a:gd name="connsiteY2" fmla="*/ 161314 h 195286"/>
                <a:gd name="connsiteX3" fmla="*/ 15131 w 142981"/>
                <a:gd name="connsiteY3" fmla="*/ 143479 h 195286"/>
                <a:gd name="connsiteX4" fmla="*/ 72756 w 142981"/>
                <a:gd name="connsiteY4" fmla="*/ 171269 h 195286"/>
                <a:gd name="connsiteX5" fmla="*/ 109800 w 142981"/>
                <a:gd name="connsiteY5" fmla="*/ 162565 h 195286"/>
                <a:gd name="connsiteX6" fmla="*/ 117508 w 142981"/>
                <a:gd name="connsiteY6" fmla="*/ 127992 h 195286"/>
                <a:gd name="connsiteX7" fmla="*/ 74922 w 142981"/>
                <a:gd name="connsiteY7" fmla="*/ 108723 h 195286"/>
                <a:gd name="connsiteX8" fmla="*/ 14155 w 142981"/>
                <a:gd name="connsiteY8" fmla="*/ 75400 h 195286"/>
                <a:gd name="connsiteX9" fmla="*/ 22096 w 142981"/>
                <a:gd name="connsiteY9" fmla="*/ 19179 h 195286"/>
                <a:gd name="connsiteX10" fmla="*/ 142136 w 142981"/>
                <a:gd name="connsiteY10" fmla="*/ 23948 h 195286"/>
                <a:gd name="connsiteX11" fmla="*/ 129273 w 142981"/>
                <a:gd name="connsiteY11" fmla="*/ 43482 h 195286"/>
                <a:gd name="connsiteX12" fmla="*/ 40023 w 142981"/>
                <a:gd name="connsiteY12" fmla="*/ 34208 h 195286"/>
                <a:gd name="connsiteX13" fmla="*/ 35356 w 142981"/>
                <a:gd name="connsiteY13" fmla="*/ 65517 h 195286"/>
                <a:gd name="connsiteX14" fmla="*/ 79355 w 142981"/>
                <a:gd name="connsiteY14" fmla="*/ 85752 h 195286"/>
                <a:gd name="connsiteX15" fmla="*/ 138770 w 142981"/>
                <a:gd name="connsiteY15" fmla="*/ 118210 h 195286"/>
                <a:gd name="connsiteX16" fmla="*/ 126425 w 142981"/>
                <a:gd name="connsiteY16" fmla="*/ 179017 h 195286"/>
                <a:gd name="connsiteX17" fmla="*/ 82019 w 142981"/>
                <a:gd name="connsiteY17" fmla="*/ 195277 h 19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2981" h="195286">
                  <a:moveTo>
                    <a:pt x="81999" y="195287"/>
                  </a:moveTo>
                  <a:cubicBezTo>
                    <a:pt x="77993" y="195287"/>
                    <a:pt x="73864" y="195012"/>
                    <a:pt x="69654" y="194443"/>
                  </a:cubicBezTo>
                  <a:cubicBezTo>
                    <a:pt x="46236" y="191311"/>
                    <a:pt x="21506" y="179546"/>
                    <a:pt x="0" y="161314"/>
                  </a:cubicBezTo>
                  <a:lnTo>
                    <a:pt x="15131" y="143479"/>
                  </a:lnTo>
                  <a:cubicBezTo>
                    <a:pt x="33261" y="158853"/>
                    <a:pt x="53720" y="168717"/>
                    <a:pt x="72756" y="171269"/>
                  </a:cubicBezTo>
                  <a:cubicBezTo>
                    <a:pt x="88710" y="173404"/>
                    <a:pt x="102204" y="170232"/>
                    <a:pt x="109800" y="162565"/>
                  </a:cubicBezTo>
                  <a:cubicBezTo>
                    <a:pt x="117589" y="154705"/>
                    <a:pt x="122541" y="138933"/>
                    <a:pt x="117508" y="127992"/>
                  </a:cubicBezTo>
                  <a:cubicBezTo>
                    <a:pt x="111915" y="115851"/>
                    <a:pt x="93947" y="112383"/>
                    <a:pt x="74922" y="108723"/>
                  </a:cubicBezTo>
                  <a:cubicBezTo>
                    <a:pt x="51626" y="104238"/>
                    <a:pt x="25228" y="99164"/>
                    <a:pt x="14155" y="75400"/>
                  </a:cubicBezTo>
                  <a:cubicBezTo>
                    <a:pt x="4962" y="55684"/>
                    <a:pt x="11185" y="32195"/>
                    <a:pt x="22096" y="19179"/>
                  </a:cubicBezTo>
                  <a:cubicBezTo>
                    <a:pt x="44975" y="-8113"/>
                    <a:pt x="96581" y="-6059"/>
                    <a:pt x="142136" y="23948"/>
                  </a:cubicBezTo>
                  <a:lnTo>
                    <a:pt x="129273" y="43482"/>
                  </a:lnTo>
                  <a:cubicBezTo>
                    <a:pt x="90663" y="18050"/>
                    <a:pt x="52887" y="18864"/>
                    <a:pt x="40023" y="34208"/>
                  </a:cubicBezTo>
                  <a:cubicBezTo>
                    <a:pt x="33932" y="41468"/>
                    <a:pt x="30526" y="55165"/>
                    <a:pt x="35356" y="65517"/>
                  </a:cubicBezTo>
                  <a:cubicBezTo>
                    <a:pt x="41386" y="78451"/>
                    <a:pt x="59832" y="82000"/>
                    <a:pt x="79355" y="85752"/>
                  </a:cubicBezTo>
                  <a:cubicBezTo>
                    <a:pt x="102234" y="90155"/>
                    <a:pt x="128164" y="95148"/>
                    <a:pt x="138770" y="118210"/>
                  </a:cubicBezTo>
                  <a:cubicBezTo>
                    <a:pt x="148644" y="139655"/>
                    <a:pt x="139777" y="165544"/>
                    <a:pt x="126425" y="179017"/>
                  </a:cubicBezTo>
                  <a:cubicBezTo>
                    <a:pt x="115942" y="189593"/>
                    <a:pt x="100170" y="195277"/>
                    <a:pt x="82019" y="195277"/>
                  </a:cubicBezTo>
                  <a:close/>
                </a:path>
              </a:pathLst>
            </a:custGeom>
            <a:solidFill>
              <a:srgbClr val="41728A"/>
            </a:solidFill>
            <a:ln w="100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sp>
          <p:nvSpPr>
            <p:cNvPr id="398" name="Freeform: Shape 397">
              <a:extLst>
                <a:ext uri="{FF2B5EF4-FFF2-40B4-BE49-F238E27FC236}">
                  <a16:creationId xmlns:a16="http://schemas.microsoft.com/office/drawing/2014/main" id="{8A0A9676-23A9-5B3D-4795-55EA708B1688}"/>
                </a:ext>
              </a:extLst>
            </p:cNvPr>
            <p:cNvSpPr/>
            <p:nvPr/>
          </p:nvSpPr>
          <p:spPr>
            <a:xfrm>
              <a:off x="7767502" y="4496639"/>
              <a:ext cx="23387" cy="238451"/>
            </a:xfrm>
            <a:custGeom>
              <a:avLst/>
              <a:gdLst>
                <a:gd name="connsiteX0" fmla="*/ 0 w 23387"/>
                <a:gd name="connsiteY0" fmla="*/ 0 h 238451"/>
                <a:gd name="connsiteX1" fmla="*/ 23388 w 23387"/>
                <a:gd name="connsiteY1" fmla="*/ 0 h 238451"/>
                <a:gd name="connsiteX2" fmla="*/ 23388 w 23387"/>
                <a:gd name="connsiteY2" fmla="*/ 238451 h 238451"/>
                <a:gd name="connsiteX3" fmla="*/ 0 w 23387"/>
                <a:gd name="connsiteY3" fmla="*/ 238451 h 238451"/>
              </a:gdLst>
              <a:ahLst/>
              <a:cxnLst>
                <a:cxn ang="0">
                  <a:pos x="connsiteX0" y="connsiteY0"/>
                </a:cxn>
                <a:cxn ang="0">
                  <a:pos x="connsiteX1" y="connsiteY1"/>
                </a:cxn>
                <a:cxn ang="0">
                  <a:pos x="connsiteX2" y="connsiteY2"/>
                </a:cxn>
                <a:cxn ang="0">
                  <a:pos x="connsiteX3" y="connsiteY3"/>
                </a:cxn>
              </a:cxnLst>
              <a:rect l="l" t="t" r="r" b="b"/>
              <a:pathLst>
                <a:path w="23387" h="238451">
                  <a:moveTo>
                    <a:pt x="0" y="0"/>
                  </a:moveTo>
                  <a:lnTo>
                    <a:pt x="23388" y="0"/>
                  </a:lnTo>
                  <a:lnTo>
                    <a:pt x="23388" y="238451"/>
                  </a:lnTo>
                  <a:lnTo>
                    <a:pt x="0" y="238451"/>
                  </a:lnTo>
                  <a:close/>
                </a:path>
              </a:pathLst>
            </a:custGeom>
            <a:solidFill>
              <a:srgbClr val="DCDCDC"/>
            </a:solidFill>
            <a:ln w="100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sp>
          <p:nvSpPr>
            <p:cNvPr id="399" name="Freeform: Shape 398">
              <a:extLst>
                <a:ext uri="{FF2B5EF4-FFF2-40B4-BE49-F238E27FC236}">
                  <a16:creationId xmlns:a16="http://schemas.microsoft.com/office/drawing/2014/main" id="{9AA590A3-719E-B340-1A16-E57177D6667D}"/>
                </a:ext>
              </a:extLst>
            </p:cNvPr>
            <p:cNvSpPr/>
            <p:nvPr/>
          </p:nvSpPr>
          <p:spPr>
            <a:xfrm>
              <a:off x="7756470" y="4831121"/>
              <a:ext cx="33942" cy="33942"/>
            </a:xfrm>
            <a:custGeom>
              <a:avLst/>
              <a:gdLst>
                <a:gd name="connsiteX0" fmla="*/ 0 w 33942"/>
                <a:gd name="connsiteY0" fmla="*/ 0 h 33942"/>
                <a:gd name="connsiteX1" fmla="*/ 33943 w 33942"/>
                <a:gd name="connsiteY1" fmla="*/ 0 h 33942"/>
                <a:gd name="connsiteX2" fmla="*/ 33943 w 33942"/>
                <a:gd name="connsiteY2" fmla="*/ 33942 h 33942"/>
                <a:gd name="connsiteX3" fmla="*/ 0 w 33942"/>
                <a:gd name="connsiteY3" fmla="*/ 33942 h 33942"/>
              </a:gdLst>
              <a:ahLst/>
              <a:cxnLst>
                <a:cxn ang="0">
                  <a:pos x="connsiteX0" y="connsiteY0"/>
                </a:cxn>
                <a:cxn ang="0">
                  <a:pos x="connsiteX1" y="connsiteY1"/>
                </a:cxn>
                <a:cxn ang="0">
                  <a:pos x="connsiteX2" y="connsiteY2"/>
                </a:cxn>
                <a:cxn ang="0">
                  <a:pos x="connsiteX3" y="connsiteY3"/>
                </a:cxn>
              </a:cxnLst>
              <a:rect l="l" t="t" r="r" b="b"/>
              <a:pathLst>
                <a:path w="33942" h="33942">
                  <a:moveTo>
                    <a:pt x="0" y="0"/>
                  </a:moveTo>
                  <a:lnTo>
                    <a:pt x="33943" y="0"/>
                  </a:lnTo>
                  <a:lnTo>
                    <a:pt x="33943" y="33942"/>
                  </a:lnTo>
                  <a:lnTo>
                    <a:pt x="0" y="33942"/>
                  </a:lnTo>
                  <a:close/>
                </a:path>
              </a:pathLst>
            </a:custGeom>
            <a:solidFill>
              <a:srgbClr val="41728A"/>
            </a:solidFill>
            <a:ln w="1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sp>
          <p:nvSpPr>
            <p:cNvPr id="400" name="Freeform: Shape 399">
              <a:extLst>
                <a:ext uri="{FF2B5EF4-FFF2-40B4-BE49-F238E27FC236}">
                  <a16:creationId xmlns:a16="http://schemas.microsoft.com/office/drawing/2014/main" id="{CA6100D6-23E6-B307-75B5-EE887D976DBF}"/>
                </a:ext>
              </a:extLst>
            </p:cNvPr>
            <p:cNvSpPr/>
            <p:nvPr/>
          </p:nvSpPr>
          <p:spPr>
            <a:xfrm>
              <a:off x="7844773" y="4743195"/>
              <a:ext cx="129709" cy="106799"/>
            </a:xfrm>
            <a:custGeom>
              <a:avLst/>
              <a:gdLst>
                <a:gd name="connsiteX0" fmla="*/ 129710 w 129709"/>
                <a:gd name="connsiteY0" fmla="*/ 13575 h 106799"/>
                <a:gd name="connsiteX1" fmla="*/ 43450 w 129709"/>
                <a:gd name="connsiteY1" fmla="*/ 89025 h 106799"/>
                <a:gd name="connsiteX2" fmla="*/ 40989 w 129709"/>
                <a:gd name="connsiteY2" fmla="*/ 90296 h 106799"/>
                <a:gd name="connsiteX3" fmla="*/ 0 w 129709"/>
                <a:gd name="connsiteY3" fmla="*/ 106800 h 106799"/>
                <a:gd name="connsiteX4" fmla="*/ 0 w 129709"/>
                <a:gd name="connsiteY4" fmla="*/ 82182 h 106799"/>
                <a:gd name="connsiteX5" fmla="*/ 40989 w 129709"/>
                <a:gd name="connsiteY5" fmla="*/ 63533 h 106799"/>
                <a:gd name="connsiteX6" fmla="*/ 110664 w 129709"/>
                <a:gd name="connsiteY6" fmla="*/ 0 h 106799"/>
                <a:gd name="connsiteX7" fmla="*/ 129710 w 129709"/>
                <a:gd name="connsiteY7" fmla="*/ 13575 h 10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709" h="106799">
                  <a:moveTo>
                    <a:pt x="129710" y="13575"/>
                  </a:moveTo>
                  <a:cubicBezTo>
                    <a:pt x="107329" y="44985"/>
                    <a:pt x="77505" y="71078"/>
                    <a:pt x="43450" y="89025"/>
                  </a:cubicBezTo>
                  <a:cubicBezTo>
                    <a:pt x="42637" y="89452"/>
                    <a:pt x="41813" y="89879"/>
                    <a:pt x="40989" y="90296"/>
                  </a:cubicBezTo>
                  <a:cubicBezTo>
                    <a:pt x="27872" y="97028"/>
                    <a:pt x="14134" y="102539"/>
                    <a:pt x="0" y="106800"/>
                  </a:cubicBezTo>
                  <a:lnTo>
                    <a:pt x="0" y="82182"/>
                  </a:lnTo>
                  <a:cubicBezTo>
                    <a:pt x="14266" y="77352"/>
                    <a:pt x="28004" y="71098"/>
                    <a:pt x="40989" y="63533"/>
                  </a:cubicBezTo>
                  <a:cubicBezTo>
                    <a:pt x="68109" y="47731"/>
                    <a:pt x="91984" y="26214"/>
                    <a:pt x="110664" y="0"/>
                  </a:cubicBezTo>
                  <a:lnTo>
                    <a:pt x="129710" y="13575"/>
                  </a:lnTo>
                  <a:close/>
                </a:path>
              </a:pathLst>
            </a:custGeom>
            <a:solidFill>
              <a:srgbClr val="DCDCDC"/>
            </a:solidFill>
            <a:ln w="1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grpSp>
          <p:nvGrpSpPr>
            <p:cNvPr id="401" name="Graphic 722">
              <a:extLst>
                <a:ext uri="{FF2B5EF4-FFF2-40B4-BE49-F238E27FC236}">
                  <a16:creationId xmlns:a16="http://schemas.microsoft.com/office/drawing/2014/main" id="{3FB8A9CC-7F8A-C8B9-C440-56E048CDB992}"/>
                </a:ext>
              </a:extLst>
            </p:cNvPr>
            <p:cNvGrpSpPr/>
            <p:nvPr/>
          </p:nvGrpSpPr>
          <p:grpSpPr>
            <a:xfrm>
              <a:off x="7692581" y="4821878"/>
              <a:ext cx="161719" cy="37064"/>
              <a:chOff x="7692581" y="4821878"/>
              <a:chExt cx="161719" cy="37064"/>
            </a:xfrm>
            <a:solidFill>
              <a:srgbClr val="30C4F3"/>
            </a:solidFill>
          </p:grpSpPr>
          <p:sp>
            <p:nvSpPr>
              <p:cNvPr id="403" name="Freeform: Shape 402">
                <a:extLst>
                  <a:ext uri="{FF2B5EF4-FFF2-40B4-BE49-F238E27FC236}">
                    <a16:creationId xmlns:a16="http://schemas.microsoft.com/office/drawing/2014/main" id="{58660602-D746-DDED-2595-D736726D5433}"/>
                  </a:ext>
                </a:extLst>
              </p:cNvPr>
              <p:cNvSpPr/>
              <p:nvPr/>
            </p:nvSpPr>
            <p:spPr>
              <a:xfrm>
                <a:off x="7692581" y="4822102"/>
                <a:ext cx="52123" cy="36840"/>
              </a:xfrm>
              <a:custGeom>
                <a:avLst/>
                <a:gdLst>
                  <a:gd name="connsiteX0" fmla="*/ 52124 w 52123"/>
                  <a:gd name="connsiteY0" fmla="*/ 36840 h 36840"/>
                  <a:gd name="connsiteX1" fmla="*/ 52124 w 52123"/>
                  <a:gd name="connsiteY1" fmla="*/ 13260 h 36840"/>
                  <a:gd name="connsiteX2" fmla="*/ 0 w 52123"/>
                  <a:gd name="connsiteY2" fmla="*/ 0 h 36840"/>
                  <a:gd name="connsiteX3" fmla="*/ 0 w 52123"/>
                  <a:gd name="connsiteY3" fmla="*/ 25035 h 36840"/>
                  <a:gd name="connsiteX4" fmla="*/ 52124 w 52123"/>
                  <a:gd name="connsiteY4" fmla="*/ 36840 h 3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23" h="36840">
                    <a:moveTo>
                      <a:pt x="52124" y="36840"/>
                    </a:moveTo>
                    <a:lnTo>
                      <a:pt x="52124" y="13260"/>
                    </a:lnTo>
                    <a:cubicBezTo>
                      <a:pt x="33983" y="10941"/>
                      <a:pt x="16514" y="6416"/>
                      <a:pt x="0" y="0"/>
                    </a:cubicBezTo>
                    <a:lnTo>
                      <a:pt x="0" y="25035"/>
                    </a:lnTo>
                    <a:cubicBezTo>
                      <a:pt x="16788" y="30821"/>
                      <a:pt x="34237" y="34797"/>
                      <a:pt x="52124" y="36840"/>
                    </a:cubicBezTo>
                    <a:close/>
                  </a:path>
                </a:pathLst>
              </a:custGeom>
              <a:solidFill>
                <a:srgbClr val="DCDCDC"/>
              </a:soli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sp>
            <p:nvSpPr>
              <p:cNvPr id="404" name="Freeform: Shape 403">
                <a:extLst>
                  <a:ext uri="{FF2B5EF4-FFF2-40B4-BE49-F238E27FC236}">
                    <a16:creationId xmlns:a16="http://schemas.microsoft.com/office/drawing/2014/main" id="{35B75431-2443-290B-55E9-63F3E0AE685D}"/>
                  </a:ext>
                </a:extLst>
              </p:cNvPr>
              <p:cNvSpPr/>
              <p:nvPr/>
            </p:nvSpPr>
            <p:spPr>
              <a:xfrm>
                <a:off x="7802177" y="4821878"/>
                <a:ext cx="52123" cy="36982"/>
              </a:xfrm>
              <a:custGeom>
                <a:avLst/>
                <a:gdLst>
                  <a:gd name="connsiteX0" fmla="*/ 0 w 52123"/>
                  <a:gd name="connsiteY0" fmla="*/ 13402 h 36982"/>
                  <a:gd name="connsiteX1" fmla="*/ 0 w 52123"/>
                  <a:gd name="connsiteY1" fmla="*/ 36983 h 36982"/>
                  <a:gd name="connsiteX2" fmla="*/ 52124 w 52123"/>
                  <a:gd name="connsiteY2" fmla="*/ 25014 h 36982"/>
                  <a:gd name="connsiteX3" fmla="*/ 52124 w 52123"/>
                  <a:gd name="connsiteY3" fmla="*/ 0 h 36982"/>
                  <a:gd name="connsiteX4" fmla="*/ 0 w 52123"/>
                  <a:gd name="connsiteY4" fmla="*/ 13402 h 36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23" h="36982">
                    <a:moveTo>
                      <a:pt x="0" y="13402"/>
                    </a:moveTo>
                    <a:lnTo>
                      <a:pt x="0" y="36983"/>
                    </a:lnTo>
                    <a:cubicBezTo>
                      <a:pt x="17775" y="34888"/>
                      <a:pt x="35275" y="30851"/>
                      <a:pt x="52124" y="25014"/>
                    </a:cubicBezTo>
                    <a:lnTo>
                      <a:pt x="52124" y="0"/>
                    </a:lnTo>
                    <a:cubicBezTo>
                      <a:pt x="35437" y="6508"/>
                      <a:pt x="17947" y="11043"/>
                      <a:pt x="0" y="13402"/>
                    </a:cubicBezTo>
                    <a:close/>
                  </a:path>
                </a:pathLst>
              </a:custGeom>
              <a:solidFill>
                <a:srgbClr val="DCDCDC"/>
              </a:soli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grpSp>
        <p:sp>
          <p:nvSpPr>
            <p:cNvPr id="402" name="Freeform: Shape 401">
              <a:extLst>
                <a:ext uri="{FF2B5EF4-FFF2-40B4-BE49-F238E27FC236}">
                  <a16:creationId xmlns:a16="http://schemas.microsoft.com/office/drawing/2014/main" id="{655DF748-C6A2-61D6-F1D6-5BE1CB842D0F}"/>
                </a:ext>
              </a:extLst>
            </p:cNvPr>
            <p:cNvSpPr/>
            <p:nvPr/>
          </p:nvSpPr>
          <p:spPr>
            <a:xfrm>
              <a:off x="7907920" y="4519772"/>
              <a:ext cx="150656" cy="195560"/>
            </a:xfrm>
            <a:custGeom>
              <a:avLst/>
              <a:gdLst>
                <a:gd name="connsiteX0" fmla="*/ 143112 w 150656"/>
                <a:gd name="connsiteY0" fmla="*/ 126740 h 195560"/>
                <a:gd name="connsiteX1" fmla="*/ 81430 w 150656"/>
                <a:gd name="connsiteY1" fmla="*/ 175244 h 195560"/>
                <a:gd name="connsiteX2" fmla="*/ 81430 w 150656"/>
                <a:gd name="connsiteY2" fmla="*/ 0 h 195560"/>
                <a:gd name="connsiteX3" fmla="*/ 69227 w 150656"/>
                <a:gd name="connsiteY3" fmla="*/ 0 h 195560"/>
                <a:gd name="connsiteX4" fmla="*/ 69227 w 150656"/>
                <a:gd name="connsiteY4" fmla="*/ 175244 h 195560"/>
                <a:gd name="connsiteX5" fmla="*/ 7545 w 150656"/>
                <a:gd name="connsiteY5" fmla="*/ 126740 h 195560"/>
                <a:gd name="connsiteX6" fmla="*/ 0 w 150656"/>
                <a:gd name="connsiteY6" fmla="*/ 136339 h 195560"/>
                <a:gd name="connsiteX7" fmla="*/ 75328 w 150656"/>
                <a:gd name="connsiteY7" fmla="*/ 195560 h 195560"/>
                <a:gd name="connsiteX8" fmla="*/ 150657 w 150656"/>
                <a:gd name="connsiteY8" fmla="*/ 136339 h 195560"/>
                <a:gd name="connsiteX9" fmla="*/ 143112 w 150656"/>
                <a:gd name="connsiteY9" fmla="*/ 126740 h 195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656" h="195560">
                  <a:moveTo>
                    <a:pt x="143112" y="126740"/>
                  </a:moveTo>
                  <a:lnTo>
                    <a:pt x="81430" y="175244"/>
                  </a:lnTo>
                  <a:lnTo>
                    <a:pt x="81430" y="0"/>
                  </a:lnTo>
                  <a:lnTo>
                    <a:pt x="69227" y="0"/>
                  </a:lnTo>
                  <a:lnTo>
                    <a:pt x="69227" y="175244"/>
                  </a:lnTo>
                  <a:lnTo>
                    <a:pt x="7545" y="126740"/>
                  </a:lnTo>
                  <a:lnTo>
                    <a:pt x="0" y="136339"/>
                  </a:lnTo>
                  <a:lnTo>
                    <a:pt x="75328" y="195560"/>
                  </a:lnTo>
                  <a:lnTo>
                    <a:pt x="150657" y="136339"/>
                  </a:lnTo>
                  <a:lnTo>
                    <a:pt x="143112" y="126740"/>
                  </a:lnTo>
                  <a:close/>
                </a:path>
              </a:pathLst>
            </a:custGeom>
            <a:solidFill>
              <a:srgbClr val="41728A"/>
            </a:solidFill>
            <a:ln w="100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a:sym typeface="Helvetica Neue"/>
              </a:endParaRPr>
            </a:p>
          </p:txBody>
        </p:sp>
      </p:grpSp>
      <p:sp>
        <p:nvSpPr>
          <p:cNvPr id="125" name="Title 124">
            <a:extLst>
              <a:ext uri="{FF2B5EF4-FFF2-40B4-BE49-F238E27FC236}">
                <a16:creationId xmlns:a16="http://schemas.microsoft.com/office/drawing/2014/main" id="{35BB2ED5-F5C7-8726-6A02-C84E6C8DF5E9}"/>
              </a:ext>
            </a:extLst>
          </p:cNvPr>
          <p:cNvSpPr>
            <a:spLocks noGrp="1"/>
          </p:cNvSpPr>
          <p:nvPr>
            <p:ph type="title"/>
          </p:nvPr>
        </p:nvSpPr>
        <p:spPr>
          <a:xfrm>
            <a:off x="250528" y="944616"/>
            <a:ext cx="10972801" cy="883673"/>
          </a:xfrm>
        </p:spPr>
        <p:txBody>
          <a:bodyPr/>
          <a:lstStyle/>
          <a:p>
            <a:r>
              <a:rPr kumimoji="0" lang="en-US" sz="3200" b="0" i="0" u="none" strike="noStrike" kern="1200" cap="none" spc="0" normalizeH="0" baseline="0" noProof="0">
                <a:ln>
                  <a:noFill/>
                </a:ln>
                <a:solidFill>
                  <a:srgbClr val="FFFFFF"/>
                </a:solidFill>
                <a:effectLst/>
                <a:uLnTx/>
                <a:uFillTx/>
                <a:latin typeface="IntelOne Display Light"/>
                <a:ea typeface="+mj-ea"/>
                <a:cs typeface="+mj-cs"/>
                <a:sym typeface="Helvetica Neue"/>
              </a:rPr>
              <a:t>DN </a:t>
            </a:r>
            <a:r>
              <a:rPr kumimoji="0" lang="en-US" sz="3200" b="0" i="0" u="none" strike="noStrike" kern="1200" cap="none" spc="0" normalizeH="0" baseline="0" noProof="0" err="1">
                <a:ln>
                  <a:noFill/>
                </a:ln>
                <a:solidFill>
                  <a:srgbClr val="FFFFFF"/>
                </a:solidFill>
                <a:effectLst/>
                <a:uLnTx/>
                <a:uFillTx/>
                <a:latin typeface="IntelOne Display Light"/>
                <a:ea typeface="+mj-ea"/>
                <a:cs typeface="+mj-cs"/>
                <a:sym typeface="Helvetica Neue"/>
              </a:rPr>
              <a:t>AllConnect</a:t>
            </a:r>
            <a:r>
              <a:rPr kumimoji="0" lang="en-US" sz="3200" b="0" i="0" u="none" strike="noStrike" kern="1200" cap="none" spc="0" normalizeH="0" baseline="30000" noProof="0" err="1">
                <a:ln>
                  <a:noFill/>
                </a:ln>
                <a:solidFill>
                  <a:srgbClr val="FFFFFF"/>
                </a:solidFill>
                <a:effectLst/>
                <a:uLnTx/>
                <a:uFillTx/>
                <a:latin typeface="IntelOne Display Light"/>
                <a:ea typeface="+mj-ea"/>
                <a:cs typeface="+mj-cs"/>
                <a:sym typeface="Helvetica Neue"/>
              </a:rPr>
              <a:t>SM</a:t>
            </a:r>
            <a:r>
              <a:rPr kumimoji="0" lang="en-US" sz="3200" b="0" i="0" u="none" strike="noStrike" kern="1200" cap="none" spc="0" normalizeH="0" baseline="0" noProof="0">
                <a:ln>
                  <a:noFill/>
                </a:ln>
                <a:solidFill>
                  <a:srgbClr val="FFFFFF"/>
                </a:solidFill>
                <a:effectLst/>
                <a:uLnTx/>
                <a:uFillTx/>
                <a:latin typeface="IntelOne Display Light"/>
                <a:ea typeface="+mj-ea"/>
                <a:cs typeface="+mj-cs"/>
                <a:sym typeface="Helvetica Neue"/>
              </a:rPr>
              <a:t> Data Engine </a:t>
            </a:r>
            <a:r>
              <a:rPr kumimoji="0" lang="en-US" sz="3200" b="0" i="0" u="none" strike="noStrike" kern="1200" cap="none" spc="0" normalizeH="0" baseline="0" noProof="0">
                <a:ln>
                  <a:noFill/>
                </a:ln>
                <a:solidFill>
                  <a:srgbClr val="FFFFFF"/>
                </a:solidFill>
                <a:effectLst/>
                <a:uLnTx/>
                <a:uFillTx/>
                <a:latin typeface="IntelOne Display Light"/>
                <a:sym typeface="Helvetica"/>
              </a:rPr>
              <a:t>for Data-Driven Intelligence Powering Actionable Insights</a:t>
            </a:r>
            <a:endParaRPr lang="en-US"/>
          </a:p>
        </p:txBody>
      </p:sp>
      <p:sp>
        <p:nvSpPr>
          <p:cNvPr id="75" name="Rectangle 46" descr="Back to the home page with document use instructions">
            <a:hlinkClick r:id="" action="ppaction://noaction"/>
            <a:extLst>
              <a:ext uri="{FF2B5EF4-FFF2-40B4-BE49-F238E27FC236}">
                <a16:creationId xmlns:a16="http://schemas.microsoft.com/office/drawing/2014/main" id="{E89FE3B8-226E-8F25-5F58-1180A889CA3F}"/>
              </a:ext>
            </a:extLst>
          </p:cNvPr>
          <p:cNvSpPr/>
          <p:nvPr/>
        </p:nvSpPr>
        <p:spPr bwMode="auto">
          <a:xfrm>
            <a:off x="11091622" y="120748"/>
            <a:ext cx="449504" cy="400790"/>
          </a:xfrm>
          <a:custGeom>
            <a:avLst/>
            <a:gdLst/>
            <a:ahLst/>
            <a:cxnLst/>
            <a:rect l="l" t="t" r="r" b="b"/>
            <a:pathLst>
              <a:path w="793124" h="693087">
                <a:moveTo>
                  <a:pt x="396562" y="144025"/>
                </a:moveTo>
                <a:lnTo>
                  <a:pt x="698948" y="320927"/>
                </a:lnTo>
                <a:lnTo>
                  <a:pt x="698948" y="693087"/>
                </a:lnTo>
                <a:lnTo>
                  <a:pt x="491804" y="693087"/>
                </a:lnTo>
                <a:lnTo>
                  <a:pt x="491804" y="416283"/>
                </a:lnTo>
                <a:cubicBezTo>
                  <a:pt x="491804" y="405323"/>
                  <a:pt x="482919" y="396438"/>
                  <a:pt x="471959" y="396438"/>
                </a:cubicBezTo>
                <a:lnTo>
                  <a:pt x="321166" y="396438"/>
                </a:lnTo>
                <a:cubicBezTo>
                  <a:pt x="310206" y="396438"/>
                  <a:pt x="301321" y="405323"/>
                  <a:pt x="301321" y="416283"/>
                </a:cubicBezTo>
                <a:lnTo>
                  <a:pt x="301321" y="693087"/>
                </a:lnTo>
                <a:lnTo>
                  <a:pt x="94176" y="693087"/>
                </a:lnTo>
                <a:lnTo>
                  <a:pt x="94176" y="320927"/>
                </a:lnTo>
                <a:close/>
                <a:moveTo>
                  <a:pt x="396562" y="0"/>
                </a:moveTo>
                <a:lnTo>
                  <a:pt x="570357" y="101674"/>
                </a:lnTo>
                <a:lnTo>
                  <a:pt x="570357" y="48775"/>
                </a:lnTo>
                <a:lnTo>
                  <a:pt x="669916" y="48775"/>
                </a:lnTo>
                <a:lnTo>
                  <a:pt x="669916" y="159918"/>
                </a:lnTo>
                <a:lnTo>
                  <a:pt x="793124" y="231997"/>
                </a:lnTo>
                <a:lnTo>
                  <a:pt x="793124" y="346298"/>
                </a:lnTo>
                <a:lnTo>
                  <a:pt x="396562" y="114301"/>
                </a:lnTo>
                <a:lnTo>
                  <a:pt x="0" y="346298"/>
                </a:lnTo>
                <a:lnTo>
                  <a:pt x="0" y="231997"/>
                </a:lnTo>
                <a:close/>
              </a:path>
            </a:pathLst>
          </a:custGeom>
          <a:solidFill>
            <a:schemeClr val="bg1">
              <a:lumMod val="75000"/>
            </a:schemeClr>
          </a:solidFill>
          <a:ln w="635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21920" tIns="60960" rIns="60960" bIns="1219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1218768"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IntelOne Text" panose="020B0503020203020204" pitchFamily="34" charset="0"/>
              <a:ea typeface="Segoe UI" pitchFamily="34" charset="0"/>
              <a:cs typeface="Segoe UI" pitchFamily="34" charset="0"/>
              <a:sym typeface="Helvetica Neue"/>
            </a:endParaRPr>
          </a:p>
        </p:txBody>
      </p:sp>
    </p:spTree>
    <p:extLst>
      <p:ext uri="{BB962C8B-B14F-4D97-AF65-F5344CB8AC3E}">
        <p14:creationId xmlns:p14="http://schemas.microsoft.com/office/powerpoint/2010/main" val="13367588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4_BasicWhite">
  <a:themeElements>
    <a:clrScheme name="Intel2020">
      <a:dk1>
        <a:srgbClr val="000000"/>
      </a:dk1>
      <a:lt1>
        <a:srgbClr val="FFFFFF"/>
      </a:lt1>
      <a:dk2>
        <a:srgbClr val="004A86"/>
      </a:dk2>
      <a:lt2>
        <a:srgbClr val="525252"/>
      </a:lt2>
      <a:accent1>
        <a:srgbClr val="0068B5"/>
      </a:accent1>
      <a:accent2>
        <a:srgbClr val="00C7FD"/>
      </a:accent2>
      <a:accent3>
        <a:srgbClr val="F6CB4B"/>
      </a:accent3>
      <a:accent4>
        <a:srgbClr val="D96930"/>
      </a:accent4>
      <a:accent5>
        <a:srgbClr val="8F5DA2"/>
      </a:accent5>
      <a:accent6>
        <a:srgbClr val="8BAE46"/>
      </a:accent6>
      <a:hlink>
        <a:srgbClr val="0068B5"/>
      </a:hlink>
      <a:folHlink>
        <a:srgbClr val="0068B5"/>
      </a:folHlink>
    </a:clrScheme>
    <a:fontScheme name="Custom 11">
      <a:majorFont>
        <a:latin typeface="Intel Clear Light"/>
        <a:ea typeface="Helvetica Neue"/>
        <a:cs typeface="Helvetica Neue"/>
      </a:majorFont>
      <a:minorFont>
        <a:latin typeface="Intel Clear"/>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none" lIns="0" tIns="0" rIns="0" bIns="0" numCol="1" spcCol="38100" rtlCol="0" anchor="t" anchorCtr="0">
        <a:spAutoFit/>
      </a:bodyPr>
      <a:lstStyle>
        <a:defPPr marL="0" marR="0" indent="0" algn="l" defTabSz="2438338" rtl="0" fontAlgn="auto" latinLnBrk="0" hangingPunct="0">
          <a:lnSpc>
            <a:spcPct val="100000"/>
          </a:lnSpc>
          <a:spcBef>
            <a:spcPts val="0"/>
          </a:spcBef>
          <a:spcAft>
            <a:spcPts val="0"/>
          </a:spcAft>
          <a:buClrTx/>
          <a:buSzTx/>
          <a:buFontTx/>
          <a:buNone/>
          <a:tabLst/>
          <a:defRPr kumimoji="0" b="0" i="0" u="none" strike="noStrike" cap="none" spc="0" normalizeH="0" baseline="0" dirty="0" err="1" smtClean="0">
            <a:ln>
              <a:noFill/>
            </a:ln>
            <a:solidFill>
              <a:schemeClr val="tx2"/>
            </a:solidFill>
            <a:effectLst/>
            <a:uFillTx/>
            <a:latin typeface="+mn-lt"/>
            <a:ea typeface="+mn-ea"/>
            <a:cs typeface="+mn-cs"/>
            <a:sym typeface="Helvetica Neue"/>
          </a:defRPr>
        </a:def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373</Words>
  <Application>Microsoft Office PowerPoint</Application>
  <PresentationFormat>Widescreen</PresentationFormat>
  <Paragraphs>44</Paragraphs>
  <Slides>1</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2" baseType="lpstr">
      <vt:lpstr>Aptos</vt:lpstr>
      <vt:lpstr>Arial</vt:lpstr>
      <vt:lpstr>Helvetica</vt:lpstr>
      <vt:lpstr>Helvetica Neue Medium</vt:lpstr>
      <vt:lpstr>Intel Clear</vt:lpstr>
      <vt:lpstr>IntelOne Display Light</vt:lpstr>
      <vt:lpstr>IntelOne Display Medium</vt:lpstr>
      <vt:lpstr>IntelOne Text</vt:lpstr>
      <vt:lpstr>Wingdings</vt:lpstr>
      <vt:lpstr>34_BasicWhite</vt:lpstr>
      <vt:lpstr>think-cell Slide</vt:lpstr>
      <vt:lpstr>DN AllConnectSM Data Engine for Data-Driven Intelligence Powering Actionable Insigh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emont, Lesek</dc:creator>
  <cp:lastModifiedBy>Demont, Lesek</cp:lastModifiedBy>
  <cp:revision>1</cp:revision>
  <dcterms:created xsi:type="dcterms:W3CDTF">2025-04-02T15:59:38Z</dcterms:created>
  <dcterms:modified xsi:type="dcterms:W3CDTF">2025-04-02T16:00:03Z</dcterms:modified>
</cp:coreProperties>
</file>